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41" r:id="rId5"/>
  </p:sldMasterIdLst>
  <p:notesMasterIdLst>
    <p:notesMasterId r:id="rId32"/>
  </p:notesMasterIdLst>
  <p:sldIdLst>
    <p:sldId id="394" r:id="rId6"/>
    <p:sldId id="430" r:id="rId7"/>
    <p:sldId id="436" r:id="rId8"/>
    <p:sldId id="624" r:id="rId9"/>
    <p:sldId id="628" r:id="rId10"/>
    <p:sldId id="625" r:id="rId11"/>
    <p:sldId id="626" r:id="rId12"/>
    <p:sldId id="627" r:id="rId13"/>
    <p:sldId id="588" r:id="rId14"/>
    <p:sldId id="587" r:id="rId15"/>
    <p:sldId id="629" r:id="rId16"/>
    <p:sldId id="589" r:id="rId17"/>
    <p:sldId id="630" r:id="rId18"/>
    <p:sldId id="590" r:id="rId19"/>
    <p:sldId id="631" r:id="rId20"/>
    <p:sldId id="591" r:id="rId21"/>
    <p:sldId id="632" r:id="rId22"/>
    <p:sldId id="596" r:id="rId23"/>
    <p:sldId id="597" r:id="rId24"/>
    <p:sldId id="633" r:id="rId25"/>
    <p:sldId id="598" r:id="rId26"/>
    <p:sldId id="634" r:id="rId27"/>
    <p:sldId id="599" r:id="rId28"/>
    <p:sldId id="635" r:id="rId29"/>
    <p:sldId id="594" r:id="rId30"/>
    <p:sldId id="636" r:id="rId31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arma Data Skills 301" id="{CE25109D-E847-40CA-8DEC-066DADDCD4B2}">
          <p14:sldIdLst>
            <p14:sldId id="394"/>
            <p14:sldId id="430"/>
            <p14:sldId id="436"/>
            <p14:sldId id="624"/>
            <p14:sldId id="628"/>
            <p14:sldId id="625"/>
            <p14:sldId id="626"/>
            <p14:sldId id="627"/>
            <p14:sldId id="588"/>
            <p14:sldId id="587"/>
            <p14:sldId id="629"/>
            <p14:sldId id="589"/>
            <p14:sldId id="630"/>
            <p14:sldId id="590"/>
            <p14:sldId id="631"/>
            <p14:sldId id="591"/>
            <p14:sldId id="632"/>
            <p14:sldId id="596"/>
            <p14:sldId id="597"/>
            <p14:sldId id="633"/>
            <p14:sldId id="598"/>
            <p14:sldId id="634"/>
            <p14:sldId id="599"/>
            <p14:sldId id="635"/>
            <p14:sldId id="594"/>
            <p14:sldId id="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60" d="100"/>
          <a:sy n="60" d="100"/>
        </p:scale>
        <p:origin x="840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0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2415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>
            <a:extLst>
              <a:ext uri="{FF2B5EF4-FFF2-40B4-BE49-F238E27FC236}">
                <a16:creationId xmlns:a16="http://schemas.microsoft.com/office/drawing/2014/main" id="{657EEEE0-6A5E-1F74-93A7-DD211872353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8CD43D-FCB6-42EE-8BD0-B82F545F9B9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68FC64E0-DF7A-FF95-FB91-6CC3C264A0C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>
            <a:extLst>
              <a:ext uri="{FF2B5EF4-FFF2-40B4-BE49-F238E27FC236}">
                <a16:creationId xmlns:a16="http://schemas.microsoft.com/office/drawing/2014/main" id="{5BAC7B27-E33B-B937-C727-4321BA5A7B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5351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>
            <a:extLst>
              <a:ext uri="{FF2B5EF4-FFF2-40B4-BE49-F238E27FC236}">
                <a16:creationId xmlns:a16="http://schemas.microsoft.com/office/drawing/2014/main" id="{68A89DED-AD2E-0748-3CC9-AF5DE77C3B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48252A-2162-4BB8-96B3-37FF6ABB83C7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675" name="Rectangle 2">
            <a:extLst>
              <a:ext uri="{FF2B5EF4-FFF2-40B4-BE49-F238E27FC236}">
                <a16:creationId xmlns:a16="http://schemas.microsoft.com/office/drawing/2014/main" id="{932BE30D-CC36-6CC8-E494-AC0D4B87C2B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>
            <a:extLst>
              <a:ext uri="{FF2B5EF4-FFF2-40B4-BE49-F238E27FC236}">
                <a16:creationId xmlns:a16="http://schemas.microsoft.com/office/drawing/2014/main" id="{A2932B04-9C05-D6E8-02A6-34A6087586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>
            <a:extLst>
              <a:ext uri="{FF2B5EF4-FFF2-40B4-BE49-F238E27FC236}">
                <a16:creationId xmlns:a16="http://schemas.microsoft.com/office/drawing/2014/main" id="{68A89DED-AD2E-0748-3CC9-AF5DE77C3B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48252A-2162-4BB8-96B3-37FF6ABB83C7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675" name="Rectangle 2">
            <a:extLst>
              <a:ext uri="{FF2B5EF4-FFF2-40B4-BE49-F238E27FC236}">
                <a16:creationId xmlns:a16="http://schemas.microsoft.com/office/drawing/2014/main" id="{932BE30D-CC36-6CC8-E494-AC0D4B87C2B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>
            <a:extLst>
              <a:ext uri="{FF2B5EF4-FFF2-40B4-BE49-F238E27FC236}">
                <a16:creationId xmlns:a16="http://schemas.microsoft.com/office/drawing/2014/main" id="{A2932B04-9C05-D6E8-02A6-34A6087586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9968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>
            <a:extLst>
              <a:ext uri="{FF2B5EF4-FFF2-40B4-BE49-F238E27FC236}">
                <a16:creationId xmlns:a16="http://schemas.microsoft.com/office/drawing/2014/main" id="{FD691C22-9104-E1D2-5D11-8ABB91052F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630DC-5567-41A7-8A0E-8DB9E6512D5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989BA6DE-5288-BAF6-2166-9371FCC94B6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0562DE5A-2E9F-FF8F-6125-1429F503D5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>
            <a:extLst>
              <a:ext uri="{FF2B5EF4-FFF2-40B4-BE49-F238E27FC236}">
                <a16:creationId xmlns:a16="http://schemas.microsoft.com/office/drawing/2014/main" id="{FD691C22-9104-E1D2-5D11-8ABB91052F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630DC-5567-41A7-8A0E-8DB9E6512D5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989BA6DE-5288-BAF6-2166-9371FCC94B6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0562DE5A-2E9F-FF8F-6125-1429F503D5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325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59285B33-A7E3-DFF5-C95D-F4E1F7D4B5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E8C4CB-D1C2-4B81-86A2-C0D43BCC162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5FB0179A-C5C7-2A7E-23F9-BD51FB5F9F8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>
            <a:extLst>
              <a:ext uri="{FF2B5EF4-FFF2-40B4-BE49-F238E27FC236}">
                <a16:creationId xmlns:a16="http://schemas.microsoft.com/office/drawing/2014/main" id="{FEDF23E9-5856-A6D6-2454-EADCC62B4A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59285B33-A7E3-DFF5-C95D-F4E1F7D4B5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E8C4CB-D1C2-4B81-86A2-C0D43BCC162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5FB0179A-C5C7-2A7E-23F9-BD51FB5F9F8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>
            <a:extLst>
              <a:ext uri="{FF2B5EF4-FFF2-40B4-BE49-F238E27FC236}">
                <a16:creationId xmlns:a16="http://schemas.microsoft.com/office/drawing/2014/main" id="{FEDF23E9-5856-A6D6-2454-EADCC62B4A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5703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>
            <a:extLst>
              <a:ext uri="{FF2B5EF4-FFF2-40B4-BE49-F238E27FC236}">
                <a16:creationId xmlns:a16="http://schemas.microsoft.com/office/drawing/2014/main" id="{5812C5DB-E9FA-0ADA-10A6-44971E2F6EC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0B1DDF-0ACC-4C57-9CA9-9A59EDFAC5EC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923EB087-8491-F71F-66C9-B7EB775464E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>
            <a:extLst>
              <a:ext uri="{FF2B5EF4-FFF2-40B4-BE49-F238E27FC236}">
                <a16:creationId xmlns:a16="http://schemas.microsoft.com/office/drawing/2014/main" id="{F8D74DFD-2584-587F-771C-A0DAD36CDE8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FEC50B10-C618-8528-3D70-13C9A3862CF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32C640-621A-43A5-8B8D-82A24C520C8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771" name="Rectangle 2">
            <a:extLst>
              <a:ext uri="{FF2B5EF4-FFF2-40B4-BE49-F238E27FC236}">
                <a16:creationId xmlns:a16="http://schemas.microsoft.com/office/drawing/2014/main" id="{91826E02-292E-4286-DD1B-AF5E26B80F4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>
            <a:extLst>
              <a:ext uri="{FF2B5EF4-FFF2-40B4-BE49-F238E27FC236}">
                <a16:creationId xmlns:a16="http://schemas.microsoft.com/office/drawing/2014/main" id="{0F50648C-1922-CEAA-02F1-2AFCDF18FD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FEC50B10-C618-8528-3D70-13C9A3862CF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32C640-621A-43A5-8B8D-82A24C520C8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771" name="Rectangle 2">
            <a:extLst>
              <a:ext uri="{FF2B5EF4-FFF2-40B4-BE49-F238E27FC236}">
                <a16:creationId xmlns:a16="http://schemas.microsoft.com/office/drawing/2014/main" id="{91826E02-292E-4286-DD1B-AF5E26B80F4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>
            <a:extLst>
              <a:ext uri="{FF2B5EF4-FFF2-40B4-BE49-F238E27FC236}">
                <a16:creationId xmlns:a16="http://schemas.microsoft.com/office/drawing/2014/main" id="{0F50648C-1922-CEAA-02F1-2AFCDF18FD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974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1204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E3684DFA-B901-CDD8-F80E-7D1E2501DEF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24962B-AABD-4FD2-86DA-83F83269067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07A3E945-8FFA-2290-39A3-FB4DBC1989C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7BB9EACF-6DC4-E8D2-82BA-D78F435290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E3684DFA-B901-CDD8-F80E-7D1E2501DEF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24962B-AABD-4FD2-86DA-83F83269067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07A3E945-8FFA-2290-39A3-FB4DBC1989C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7BB9EACF-6DC4-E8D2-82BA-D78F435290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5876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DC7455B6-C7F6-4588-9E1E-1530B17CB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F83EB0-0FD4-480D-AB24-9DC8B3D4057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901C201D-2070-4158-ABB4-501AFFEB69A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5D96C759-C5AF-2530-E9C5-562453EC4B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DC7455B6-C7F6-4588-9E1E-1530B17CB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F83EB0-0FD4-480D-AB24-9DC8B3D4057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901C201D-2070-4158-ABB4-501AFFEB69A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5D96C759-C5AF-2530-E9C5-562453EC4B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570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>
            <a:extLst>
              <a:ext uri="{FF2B5EF4-FFF2-40B4-BE49-F238E27FC236}">
                <a16:creationId xmlns:a16="http://schemas.microsoft.com/office/drawing/2014/main" id="{5EB71140-CA49-90E0-36EA-DF1700493AA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F96445-4D7B-40BF-BE78-6C9DA8628DE6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688F3517-39B8-F213-6A4C-2C88C8467D9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>
            <a:extLst>
              <a:ext uri="{FF2B5EF4-FFF2-40B4-BE49-F238E27FC236}">
                <a16:creationId xmlns:a16="http://schemas.microsoft.com/office/drawing/2014/main" id="{CA6B2686-C740-64AE-D178-A9AA8CE0641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>
            <a:extLst>
              <a:ext uri="{FF2B5EF4-FFF2-40B4-BE49-F238E27FC236}">
                <a16:creationId xmlns:a16="http://schemas.microsoft.com/office/drawing/2014/main" id="{2B81DB02-B8FA-8373-5631-0EDC7C0624D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2E0579-93D3-4C42-A2FD-6674A7DB2D2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627" name="Rectangle 2">
            <a:extLst>
              <a:ext uri="{FF2B5EF4-FFF2-40B4-BE49-F238E27FC236}">
                <a16:creationId xmlns:a16="http://schemas.microsoft.com/office/drawing/2014/main" id="{AA6A67B7-487E-C7AA-C11B-554CFCE484E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>
            <a:extLst>
              <a:ext uri="{FF2B5EF4-FFF2-40B4-BE49-F238E27FC236}">
                <a16:creationId xmlns:a16="http://schemas.microsoft.com/office/drawing/2014/main" id="{A23312DF-B14C-2158-B8FE-A5C7C61BDF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989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id="{0502DD6B-92C6-A0D7-8F1C-B4BEB315F04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633F00-5AC2-4BBC-A388-C3415F643E7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976FE5A6-F779-525F-2D88-E596BED4ECB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DAA56957-47BB-F843-560C-9201AE697A7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id="{0502DD6B-92C6-A0D7-8F1C-B4BEB315F04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633F00-5AC2-4BBC-A388-C3415F643E7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976FE5A6-F779-525F-2D88-E596BED4ECB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DAA56957-47BB-F843-560C-9201AE697A7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646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>
            <a:extLst>
              <a:ext uri="{FF2B5EF4-FFF2-40B4-BE49-F238E27FC236}">
                <a16:creationId xmlns:a16="http://schemas.microsoft.com/office/drawing/2014/main" id="{F6A2DFB5-2737-70B2-62D1-DD57CA850C9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C4BCFD-B169-4E8D-8CC4-5E4D5703DE4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502A2377-D528-64EE-EC6C-60157D7DC9E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>
            <a:extLst>
              <a:ext uri="{FF2B5EF4-FFF2-40B4-BE49-F238E27FC236}">
                <a16:creationId xmlns:a16="http://schemas.microsoft.com/office/drawing/2014/main" id="{16A1F197-423C-BAAE-43BD-BB260F9B52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>
            <a:extLst>
              <a:ext uri="{FF2B5EF4-FFF2-40B4-BE49-F238E27FC236}">
                <a16:creationId xmlns:a16="http://schemas.microsoft.com/office/drawing/2014/main" id="{4E8400DD-1C18-C81D-919D-E3B2247EDF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B3D240-14B9-4AE4-A6CD-04FEEF8034BD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579" name="Rectangle 2">
            <a:extLst>
              <a:ext uri="{FF2B5EF4-FFF2-40B4-BE49-F238E27FC236}">
                <a16:creationId xmlns:a16="http://schemas.microsoft.com/office/drawing/2014/main" id="{877860E4-00E0-2760-4255-3F087488771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>
            <a:extLst>
              <a:ext uri="{FF2B5EF4-FFF2-40B4-BE49-F238E27FC236}">
                <a16:creationId xmlns:a16="http://schemas.microsoft.com/office/drawing/2014/main" id="{8802A5C5-125F-4EBD-DBD6-98CD2550462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>
            <a:extLst>
              <a:ext uri="{FF2B5EF4-FFF2-40B4-BE49-F238E27FC236}">
                <a16:creationId xmlns:a16="http://schemas.microsoft.com/office/drawing/2014/main" id="{64EC7A9E-B78E-CDB3-97E4-D89DC7152D5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0121C-8B93-4357-B867-2B5D7DBBCAB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94EF5608-7D9B-85C6-4FC4-308C737C73A9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>
            <a:extLst>
              <a:ext uri="{FF2B5EF4-FFF2-40B4-BE49-F238E27FC236}">
                <a16:creationId xmlns:a16="http://schemas.microsoft.com/office/drawing/2014/main" id="{5C64299A-4219-BF62-C86F-DB8EADBD060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>
            <a:extLst>
              <a:ext uri="{FF2B5EF4-FFF2-40B4-BE49-F238E27FC236}">
                <a16:creationId xmlns:a16="http://schemas.microsoft.com/office/drawing/2014/main" id="{2B81DB02-B8FA-8373-5631-0EDC7C0624D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2E0579-93D3-4C42-A2FD-6674A7DB2D2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627" name="Rectangle 2">
            <a:extLst>
              <a:ext uri="{FF2B5EF4-FFF2-40B4-BE49-F238E27FC236}">
                <a16:creationId xmlns:a16="http://schemas.microsoft.com/office/drawing/2014/main" id="{AA6A67B7-487E-C7AA-C11B-554CFCE484E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>
            <a:extLst>
              <a:ext uri="{FF2B5EF4-FFF2-40B4-BE49-F238E27FC236}">
                <a16:creationId xmlns:a16="http://schemas.microsoft.com/office/drawing/2014/main" id="{A23312DF-B14C-2158-B8FE-A5C7C61BDF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>
            <a:extLst>
              <a:ext uri="{FF2B5EF4-FFF2-40B4-BE49-F238E27FC236}">
                <a16:creationId xmlns:a16="http://schemas.microsoft.com/office/drawing/2014/main" id="{657EEEE0-6A5E-1F74-93A7-DD211872353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8CD43D-FCB6-42EE-8BD0-B82F545F9B9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68FC64E0-DF7A-FF95-FB91-6CC3C264A0C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>
            <a:extLst>
              <a:ext uri="{FF2B5EF4-FFF2-40B4-BE49-F238E27FC236}">
                <a16:creationId xmlns:a16="http://schemas.microsoft.com/office/drawing/2014/main" id="{5BAC7B27-E33B-B937-C727-4321BA5A7B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>
            <a:extLst>
              <a:ext uri="{FF2B5EF4-FFF2-40B4-BE49-F238E27FC236}">
                <a16:creationId xmlns:a16="http://schemas.microsoft.com/office/drawing/2014/main" id="{C477063E-CAEB-7D03-A6EB-EF34373B869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42317" y="304800"/>
            <a:ext cx="33867" cy="59563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/>
          </a:p>
        </p:txBody>
      </p:sp>
      <p:graphicFrame>
        <p:nvGraphicFramePr>
          <p:cNvPr id="3" name="Object 3">
            <a:extLst>
              <a:ext uri="{FF2B5EF4-FFF2-40B4-BE49-F238E27FC236}">
                <a16:creationId xmlns:a16="http://schemas.microsoft.com/office/drawing/2014/main" id="{4B247AFD-FEAD-F673-3079-7000F2032F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59818" y="1068388"/>
          <a:ext cx="3363383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icture" r:id="rId2" imgW="3373438" imgH="1017588" progId="Word.Picture.8">
                  <p:embed/>
                </p:oleObj>
              </mc:Choice>
              <mc:Fallback>
                <p:oleObj name="Picture" r:id="rId2" imgW="3373438" imgH="1017588" progId="Word.Picture.8">
                  <p:embed/>
                  <p:pic>
                    <p:nvPicPr>
                      <p:cNvPr id="3" name="Object 3">
                        <a:extLst>
                          <a:ext uri="{FF2B5EF4-FFF2-40B4-BE49-F238E27FC236}">
                            <a16:creationId xmlns:a16="http://schemas.microsoft.com/office/drawing/2014/main" id="{4B247AFD-FEAD-F673-3079-7000F2032F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9818" y="1068388"/>
                        <a:ext cx="3363383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5193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EDEA763-B2AB-68CF-B447-2901F6AC4AA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8C1B3F-3110-4037-A9CD-B0AA591C6C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00958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60050EE-865A-1123-5546-A66F92621C9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35578A-FFD5-42A5-9949-8E0D4DB017B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53283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E6DB07-AA27-9998-1B6C-6955124525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89D376-3BFD-4829-8560-AB2CE8AF8E5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005715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672D9CF-2960-CA08-46EC-12A7C9A5920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6E94B7-DDDA-458F-919C-15F5D7F0273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8705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E605CC5-ADBE-CBE4-D2E7-0540C8BDC16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047664-89CD-49D1-8F45-414C74406B3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98122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D24A534-B496-7B66-5D49-5CDB17DD67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406C63-3835-4AE8-9282-7629EACC99A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34704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38B614-285F-C5B8-FEAB-AFED56C072C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447D3-D1AB-468D-BB4D-01E0AE0BA6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955094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BD3A62-2260-692A-975A-E516AA0BF05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2209AC-7D88-4E94-A645-CE101CF0B9C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0506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4AE44CA-E0D4-AEFE-E21C-1791BEF6380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1E8D0E-9A85-411A-A413-168C297A90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77305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1533" y="87314"/>
            <a:ext cx="2904067" cy="60848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333" y="87314"/>
            <a:ext cx="8509000" cy="60848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BF790A8-87F3-22B1-E279-A6690EFAA4A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FACECD-69C7-4984-BF7A-7B1F9A97D55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0619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6400" y="1371600"/>
            <a:ext cx="11379200" cy="48006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B7E489A-EDDB-683C-B456-0CEFBF455B3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47CF3D-84EC-4FDF-8FCC-0F827F36750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92626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0046AD-F425-C432-57DF-096B5E36D43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7387-3260-44C0-B6E1-8034DE6942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8075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46B8F438-440A-6378-8F52-4573FD8A1B3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DC38B0-D1D0-4E0C-8A1E-A7E14399D7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21509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064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064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EDC8879-2F92-564E-D923-32B4EB3CADE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33CDF6-48B6-485D-9DA8-A6DEBCF996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8213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0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8218822E-D2A3-4DE6-9413-06AB7E9C7B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9333" y="87314"/>
            <a:ext cx="94488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31F5F01-A244-2938-3028-2BC8D445392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371600"/>
            <a:ext cx="113792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19812" name="Rectangle 4">
            <a:extLst>
              <a:ext uri="{FF2B5EF4-FFF2-40B4-BE49-F238E27FC236}">
                <a16:creationId xmlns:a16="http://schemas.microsoft.com/office/drawing/2014/main" id="{FBFF05DC-D91B-A762-19F6-5E33AAFBA4B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2400" y="6553200"/>
            <a:ext cx="609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36D42897-4470-4722-8C9F-E11D3D66319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29" name="Line 5">
            <a:extLst>
              <a:ext uri="{FF2B5EF4-FFF2-40B4-BE49-F238E27FC236}">
                <a16:creationId xmlns:a16="http://schemas.microsoft.com/office/drawing/2014/main" id="{B8F76071-635B-AE50-A9F5-DF4342F6D5A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04800" y="863600"/>
            <a:ext cx="115824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1" name="AutoShape 14">
            <a:extLst>
              <a:ext uri="{FF2B5EF4-FFF2-40B4-BE49-F238E27FC236}">
                <a16:creationId xmlns:a16="http://schemas.microsoft.com/office/drawing/2014/main" id="{9BE0461F-DB49-6DBE-3370-60FCE435FE2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464800" y="3175"/>
            <a:ext cx="1625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3" name="Rectangle 27">
            <a:extLst>
              <a:ext uri="{FF2B5EF4-FFF2-40B4-BE49-F238E27FC236}">
                <a16:creationId xmlns:a16="http://schemas.microsoft.com/office/drawing/2014/main" id="{4464B6D4-37B8-1531-B709-C7773607E1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0" y="566739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</a:t>
            </a:r>
            <a:endParaRPr lang="en-US" altLang="en-US" sz="900" b="0"/>
          </a:p>
        </p:txBody>
      </p:sp>
      <p:grpSp>
        <p:nvGrpSpPr>
          <p:cNvPr id="1034" name="Group 33">
            <a:extLst>
              <a:ext uri="{FF2B5EF4-FFF2-40B4-BE49-F238E27FC236}">
                <a16:creationId xmlns:a16="http://schemas.microsoft.com/office/drawing/2014/main" id="{35AC038B-8A57-774F-C152-95D8F3135B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598151" y="538163"/>
            <a:ext cx="281516" cy="176212"/>
            <a:chOff x="5007" y="339"/>
            <a:chExt cx="133" cy="111"/>
          </a:xfrm>
        </p:grpSpPr>
        <p:sp>
          <p:nvSpPr>
            <p:cNvPr id="1065" name="Freeform 28">
              <a:extLst>
                <a:ext uri="{FF2B5EF4-FFF2-40B4-BE49-F238E27FC236}">
                  <a16:creationId xmlns:a16="http://schemas.microsoft.com/office/drawing/2014/main" id="{4EB76EEA-8F13-6E9A-F818-D9430E9AF9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6" name="Freeform 29">
              <a:extLst>
                <a:ext uri="{FF2B5EF4-FFF2-40B4-BE49-F238E27FC236}">
                  <a16:creationId xmlns:a16="http://schemas.microsoft.com/office/drawing/2014/main" id="{0F7A2097-BB7A-A544-9EEE-3ADDA142F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7" name="Line 30">
              <a:extLst>
                <a:ext uri="{FF2B5EF4-FFF2-40B4-BE49-F238E27FC236}">
                  <a16:creationId xmlns:a16="http://schemas.microsoft.com/office/drawing/2014/main" id="{CF597197-BBAF-0A52-47C3-76C62560F6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8" name="Freeform 31">
              <a:extLst>
                <a:ext uri="{FF2B5EF4-FFF2-40B4-BE49-F238E27FC236}">
                  <a16:creationId xmlns:a16="http://schemas.microsoft.com/office/drawing/2014/main" id="{C25980C1-4D39-3B1B-17D9-E61744685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9" name="Freeform 32">
              <a:extLst>
                <a:ext uri="{FF2B5EF4-FFF2-40B4-BE49-F238E27FC236}">
                  <a16:creationId xmlns:a16="http://schemas.microsoft.com/office/drawing/2014/main" id="{E1EF9B18-DE41-7687-CDD6-D04F27408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1037" name="Rectangle 39">
            <a:extLst>
              <a:ext uri="{FF2B5EF4-FFF2-40B4-BE49-F238E27FC236}">
                <a16:creationId xmlns:a16="http://schemas.microsoft.com/office/drawing/2014/main" id="{6FB1990C-5746-A8F5-2501-865BB1CB1A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68567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I</a:t>
            </a:r>
            <a:endParaRPr lang="en-US" altLang="en-US" sz="900" b="0"/>
          </a:p>
        </p:txBody>
      </p:sp>
      <p:sp>
        <p:nvSpPr>
          <p:cNvPr id="1038" name="Rectangle 40">
            <a:extLst>
              <a:ext uri="{FF2B5EF4-FFF2-40B4-BE49-F238E27FC236}">
                <a16:creationId xmlns:a16="http://schemas.microsoft.com/office/drawing/2014/main" id="{2B0506E8-2EE1-BE20-016A-527F11EEE7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8" y="163514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endParaRPr lang="en-US" altLang="en-US" sz="900" b="0"/>
          </a:p>
        </p:txBody>
      </p:sp>
      <p:sp>
        <p:nvSpPr>
          <p:cNvPr id="1039" name="Rectangle 41">
            <a:extLst>
              <a:ext uri="{FF2B5EF4-FFF2-40B4-BE49-F238E27FC236}">
                <a16:creationId xmlns:a16="http://schemas.microsoft.com/office/drawing/2014/main" id="{F0F0FF94-0DBF-E955-E333-69E6B914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0" name="Rectangle 42">
            <a:extLst>
              <a:ext uri="{FF2B5EF4-FFF2-40B4-BE49-F238E27FC236}">
                <a16:creationId xmlns:a16="http://schemas.microsoft.com/office/drawing/2014/main" id="{A727FD77-9992-7E1E-44CF-5FD15E1340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1" name="Rectangle 43">
            <a:extLst>
              <a:ext uri="{FF2B5EF4-FFF2-40B4-BE49-F238E27FC236}">
                <a16:creationId xmlns:a16="http://schemas.microsoft.com/office/drawing/2014/main" id="{27CA0549-D2E7-0D0E-D779-4E8421C1A7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4" name="Rectangle 49">
            <a:extLst>
              <a:ext uri="{FF2B5EF4-FFF2-40B4-BE49-F238E27FC236}">
                <a16:creationId xmlns:a16="http://schemas.microsoft.com/office/drawing/2014/main" id="{91C6AA9F-E7BE-DFAF-FE88-B589AD1E42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894484" y="3333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C</a:t>
            </a:r>
            <a:endParaRPr lang="en-US" altLang="en-US" sz="900" b="0"/>
          </a:p>
        </p:txBody>
      </p:sp>
      <p:sp>
        <p:nvSpPr>
          <p:cNvPr id="1045" name="Rectangle 50">
            <a:extLst>
              <a:ext uri="{FF2B5EF4-FFF2-40B4-BE49-F238E27FC236}">
                <a16:creationId xmlns:a16="http://schemas.microsoft.com/office/drawing/2014/main" id="{08FD5756-143D-063D-CE27-49C0FD611E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7" y="163514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A</a:t>
            </a:r>
            <a:endParaRPr lang="en-US" altLang="en-US" sz="900" b="0"/>
          </a:p>
        </p:txBody>
      </p:sp>
      <p:sp>
        <p:nvSpPr>
          <p:cNvPr id="1046" name="Rectangle 51">
            <a:extLst>
              <a:ext uri="{FF2B5EF4-FFF2-40B4-BE49-F238E27FC236}">
                <a16:creationId xmlns:a16="http://schemas.microsoft.com/office/drawing/2014/main" id="{51D69E05-2F0C-12C1-6481-E1EA2B74C5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7" name="Rectangle 52">
            <a:extLst>
              <a:ext uri="{FF2B5EF4-FFF2-40B4-BE49-F238E27FC236}">
                <a16:creationId xmlns:a16="http://schemas.microsoft.com/office/drawing/2014/main" id="{9FD8A50F-509E-91A4-739F-FC68C4B0FD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8" name="Rectangle 53">
            <a:extLst>
              <a:ext uri="{FF2B5EF4-FFF2-40B4-BE49-F238E27FC236}">
                <a16:creationId xmlns:a16="http://schemas.microsoft.com/office/drawing/2014/main" id="{E9F9BC0C-06CB-D98D-5812-A72BD05D03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9" name="Rectangle 54">
            <a:extLst>
              <a:ext uri="{FF2B5EF4-FFF2-40B4-BE49-F238E27FC236}">
                <a16:creationId xmlns:a16="http://schemas.microsoft.com/office/drawing/2014/main" id="{835868D6-91BA-EC90-96AA-DAACBF87A4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1" y="566739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eam</a:t>
            </a:r>
            <a:endParaRPr lang="en-US" altLang="en-US" sz="900" b="0"/>
          </a:p>
        </p:txBody>
      </p:sp>
      <p:sp>
        <p:nvSpPr>
          <p:cNvPr id="1053" name="Text Box 64">
            <a:extLst>
              <a:ext uri="{FF2B5EF4-FFF2-40B4-BE49-F238E27FC236}">
                <a16:creationId xmlns:a16="http://schemas.microsoft.com/office/drawing/2014/main" id="{4054AC48-2D88-CF7C-FEF8-41453FB5B9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154738"/>
            <a:ext cx="6015567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800" b="0"/>
          </a:p>
        </p:txBody>
      </p:sp>
      <p:sp>
        <p:nvSpPr>
          <p:cNvPr id="3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B0E2A63D-4C17-3982-A141-159E54C037B6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F72087-9DE0-7CA3-40DD-7399ABB799B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911197" y="6309418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511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anose="05000000000000000000" pitchFamily="2" charset="2"/>
        <a:buChar char="v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23.w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4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5.w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6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7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7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8.w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9.w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0.gsb.columbia.edu/mygsb/faculty/research/pubfiles/1079/Mizik_are_physicians_easy_marks.pdf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0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9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1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9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8. Model Part 3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3">
            <a:extLst>
              <a:ext uri="{FF2B5EF4-FFF2-40B4-BE49-F238E27FC236}">
                <a16:creationId xmlns:a16="http://schemas.microsoft.com/office/drawing/2014/main" id="{9B6C1387-9567-A7C7-579A-F510A65F8D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2BDD9B8-E56D-4ED0-A8CE-4B57528D474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0AB59D62-618F-AA16-D605-50DA78A392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>
                <a:latin typeface="Invention Light" panose="020B0403020008020204" pitchFamily="34" charset="0"/>
              </a:rPr>
              <a:t>Concepts – Randomized Experiments vs. nonexperimental studies.</a:t>
            </a:r>
          </a:p>
        </p:txBody>
      </p:sp>
      <p:sp>
        <p:nvSpPr>
          <p:cNvPr id="10244" name="Rectangle 3">
            <a:extLst>
              <a:ext uri="{FF2B5EF4-FFF2-40B4-BE49-F238E27FC236}">
                <a16:creationId xmlns:a16="http://schemas.microsoft.com/office/drawing/2014/main" id="{903DEDF2-930C-B7B0-9CDC-88B3D11BCE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06056" y="1158949"/>
            <a:ext cx="11281144" cy="5013252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ized experiments have major advantages over observational studies in making causal inferences. 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ization ensures treatment groups, on average, are identical with respect to all possible characteristics of the subjects, regardless of whether they could be measured or not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nonexperimental studies, we try to approximate random experiment by statistically controlling for other variables using methods such as linear regression, matching etc., This has two major drawbacks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ts possible to leave out some crucial variables. Omission of a key covariate can lead to severe estimation bias for the variables that are included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Not all variables could be measured. Inaccuracies in measurement also causes estimation bias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3">
            <a:extLst>
              <a:ext uri="{FF2B5EF4-FFF2-40B4-BE49-F238E27FC236}">
                <a16:creationId xmlns:a16="http://schemas.microsoft.com/office/drawing/2014/main" id="{9B6C1387-9567-A7C7-579A-F510A65F8D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2BDD9B8-E56D-4ED0-A8CE-4B57528D474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0AB59D62-618F-AA16-D605-50DA78A392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>
                <a:latin typeface="Invention Light" panose="020B0403020008020204" pitchFamily="34" charset="0"/>
              </a:rPr>
              <a:t>Concepts – Randomized Experiments vs. nonexperimental studies.</a:t>
            </a:r>
          </a:p>
        </p:txBody>
      </p:sp>
      <p:sp>
        <p:nvSpPr>
          <p:cNvPr id="10244" name="Rectangle 3">
            <a:extLst>
              <a:ext uri="{FF2B5EF4-FFF2-40B4-BE49-F238E27FC236}">
                <a16:creationId xmlns:a16="http://schemas.microsoft.com/office/drawing/2014/main" id="{903DEDF2-930C-B7B0-9CDC-88B3D11BCE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06056" y="1350335"/>
            <a:ext cx="11281144" cy="4821866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practice, causal inference via statistical adjustment usually runs distant second to randomization. However, with certain kinds of nonexperimental data (ex: longitudinal repeated measures data) we can get much closer to the virtues of a randomized experiment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Specifically, by using fixed effects method discussed in the reference, it is possible to control for all possible time-invariant characteristics of the individuals in the study (measured or not).</a:t>
            </a:r>
          </a:p>
        </p:txBody>
      </p:sp>
    </p:spTree>
    <p:extLst>
      <p:ext uri="{BB962C8B-B14F-4D97-AF65-F5344CB8AC3E}">
        <p14:creationId xmlns:p14="http://schemas.microsoft.com/office/powerpoint/2010/main" val="1660576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4">
            <a:extLst>
              <a:ext uri="{FF2B5EF4-FFF2-40B4-BE49-F238E27FC236}">
                <a16:creationId xmlns:a16="http://schemas.microsoft.com/office/drawing/2014/main" id="{C31C4456-52C8-7637-F11B-023D2B6345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6E7A297-C727-4A1A-99D4-ABC9CEDC6C3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1267" name="Rectangle 2">
            <a:extLst>
              <a:ext uri="{FF2B5EF4-FFF2-40B4-BE49-F238E27FC236}">
                <a16:creationId xmlns:a16="http://schemas.microsoft.com/office/drawing/2014/main" id="{975349F3-F835-CC61-32C1-68EC98828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</a:rPr>
              <a:t>Concepts – Fixed Effects Methods</a:t>
            </a:r>
          </a:p>
        </p:txBody>
      </p:sp>
      <p:sp>
        <p:nvSpPr>
          <p:cNvPr id="11268" name="Rectangle 3">
            <a:extLst>
              <a:ext uri="{FF2B5EF4-FFF2-40B4-BE49-F238E27FC236}">
                <a16:creationId xmlns:a16="http://schemas.microsoft.com/office/drawing/2014/main" id="{BD18FE48-ED73-47A9-527C-A9C371D9D112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61507" y="1062039"/>
            <a:ext cx="11461898" cy="546893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essence, each individual serves as his or her own control in FE method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ccomplished by making comparisons within individuals and then averaging those differences across all individual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Major attraction in nonexperimental data is the ability to control for all stable characteristics of the individuals in the study, thereby eliminating potentially large sources of bia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ample: Paired-Comparison t-test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11269" name="Object 4">
            <a:extLst>
              <a:ext uri="{FF2B5EF4-FFF2-40B4-BE49-F238E27FC236}">
                <a16:creationId xmlns:a16="http://schemas.microsoft.com/office/drawing/2014/main" id="{72BAD991-7382-1A45-F2E6-4442D14575DF}"/>
              </a:ext>
            </a:extLst>
          </p:cNvPr>
          <p:cNvGraphicFramePr>
            <a:graphicFrameLocks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06110095"/>
              </p:ext>
            </p:extLst>
          </p:nvPr>
        </p:nvGraphicFramePr>
        <p:xfrm>
          <a:off x="3592439" y="4152014"/>
          <a:ext cx="4191000" cy="790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425700" imgH="457200" progId="Equation.3">
                  <p:embed/>
                </p:oleObj>
              </mc:Choice>
              <mc:Fallback>
                <p:oleObj name="Equation" r:id="rId3" imgW="2425700" imgH="457200" progId="Equation.3">
                  <p:embed/>
                  <p:pic>
                    <p:nvPicPr>
                      <p:cNvPr id="11269" name="Object 4">
                        <a:extLst>
                          <a:ext uri="{FF2B5EF4-FFF2-40B4-BE49-F238E27FC236}">
                            <a16:creationId xmlns:a16="http://schemas.microsoft.com/office/drawing/2014/main" id="{72BAD991-7382-1A45-F2E6-4442D14575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92439" y="4152014"/>
                        <a:ext cx="4191000" cy="79057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4">
            <a:extLst>
              <a:ext uri="{FF2B5EF4-FFF2-40B4-BE49-F238E27FC236}">
                <a16:creationId xmlns:a16="http://schemas.microsoft.com/office/drawing/2014/main" id="{C31C4456-52C8-7637-F11B-023D2B6345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6E7A297-C727-4A1A-99D4-ABC9CEDC6C3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1267" name="Rectangle 2">
            <a:extLst>
              <a:ext uri="{FF2B5EF4-FFF2-40B4-BE49-F238E27FC236}">
                <a16:creationId xmlns:a16="http://schemas.microsoft.com/office/drawing/2014/main" id="{975349F3-F835-CC61-32C1-68EC98828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</a:rPr>
              <a:t>Concepts – Fixed Effects Methods</a:t>
            </a:r>
          </a:p>
        </p:txBody>
      </p:sp>
      <p:sp>
        <p:nvSpPr>
          <p:cNvPr id="11268" name="Rectangle 3">
            <a:extLst>
              <a:ext uri="{FF2B5EF4-FFF2-40B4-BE49-F238E27FC236}">
                <a16:creationId xmlns:a16="http://schemas.microsoft.com/office/drawing/2014/main" id="{BD18FE48-ED73-47A9-527C-A9C371D9D112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61507" y="1062039"/>
            <a:ext cx="11461898" cy="546893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ignores between-person variation and focuses only on withi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isadvantage: Discarding between-person variation can yield standard errors that are considerably higher than those methods that use both within- and betwee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dvantage: Between-person variation is very likely to be contaminated by unmeasured personal characteristics that are correlated with dependent and/or other independent variables. By restricting ourselves to within-person variation, we eliminate that contamination and are much more likely to get unbiased estimate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e are dealing with the trade-off between bias and sampling variability. For nonexperimental data, fixed effects methods tend to reduce bias at the expense of greater sampling variability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 methods do not provide an estimate for time-invariant variables. Interactions between time-invariant and time-variant vars could be estimated.</a:t>
            </a:r>
          </a:p>
        </p:txBody>
      </p:sp>
    </p:spTree>
    <p:extLst>
      <p:ext uri="{BB962C8B-B14F-4D97-AF65-F5344CB8AC3E}">
        <p14:creationId xmlns:p14="http://schemas.microsoft.com/office/powerpoint/2010/main" val="1443448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4">
            <a:extLst>
              <a:ext uri="{FF2B5EF4-FFF2-40B4-BE49-F238E27FC236}">
                <a16:creationId xmlns:a16="http://schemas.microsoft.com/office/drawing/2014/main" id="{34C6A778-AE66-3738-082B-BAB88BD315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99E8A480-7E60-40EE-A13A-8A392FEB9EE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id="{750DCA5F-16F1-2E8D-1C8C-C2CBD62F9D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Concepts – Fixed Effects Methods (cont’d)</a:t>
            </a:r>
          </a:p>
        </p:txBody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id="{74D160FA-009D-87C2-22AE-86CF80F70B9C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520995" y="1371600"/>
            <a:ext cx="11061405" cy="480060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 effects methods do not control for unmeasured, stable characteristics of the individuals. This is becaus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erms are usually assumed to have a distribution that is uncorrelated with the measured variables in the model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ey use both within and between individual variations and typically have less sampling variability than fixed effects method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ECISION to use Fixed or Random Effects methods depends on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s it important to control for unmeasured characteristics of individuals to reduce bias in the estimates of interest? (use FE Method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s it important to estimate the effects of stable covariates? (use RE or Hybrid Method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hether one can tolerate the substantial loss of information that comes from discarding the between-individual variation (cannot tolerate </a:t>
            </a:r>
            <a:r>
              <a:rPr lang="en-US" altLang="en-US" sz="1800" dirty="0">
                <a:latin typeface="Invention" panose="020B0503020008020204" pitchFamily="34" charset="0"/>
                <a:sym typeface="Wingdings" panose="05000000000000000000" pitchFamily="2" charset="2"/>
              </a:rPr>
              <a:t> use RE methods)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4">
            <a:extLst>
              <a:ext uri="{FF2B5EF4-FFF2-40B4-BE49-F238E27FC236}">
                <a16:creationId xmlns:a16="http://schemas.microsoft.com/office/drawing/2014/main" id="{34C6A778-AE66-3738-082B-BAB88BD315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99E8A480-7E60-40EE-A13A-8A392FEB9EE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id="{750DCA5F-16F1-2E8D-1C8C-C2CBD62F9D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Concepts – Fixed Effects Methods (cont’d)</a:t>
            </a:r>
          </a:p>
        </p:txBody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id="{74D160FA-009D-87C2-22AE-86CF80F70B9C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520995" y="1892594"/>
            <a:ext cx="11061405" cy="4279605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HY did we use this exploration for Nasonex DTC study?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Mainly to understand and reduce the biasness of various parameter estimates of interest (particularly, TV DTC promotion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o see if our data supports using FE methods and still achieve reasonable significance level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mpare how the biasness varies for various model structures (with an aim to find relatively appropriate structures) 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600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5">
            <a:extLst>
              <a:ext uri="{FF2B5EF4-FFF2-40B4-BE49-F238E27FC236}">
                <a16:creationId xmlns:a16="http://schemas.microsoft.com/office/drawing/2014/main" id="{5AC89631-0154-6594-DB11-C81A8536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B6ADAB8-44D0-4674-B5E3-0D6D6DBEA99E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1D7FCD76-FEBE-2A81-E37A-EFCAA389F8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1</a:t>
            </a:r>
          </a:p>
        </p:txBody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4907E435-C34E-A2C8-8356-4DECCCE3C983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35935" y="950914"/>
            <a:ext cx="11493795" cy="522128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Basic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n-US" altLang="en-US" sz="1800" dirty="0" err="1">
                <a:latin typeface="Invention" panose="020B0503020008020204" pitchFamily="34" charset="0"/>
              </a:rPr>
              <a:t>Y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altLang="en-US" sz="1800" dirty="0" err="1">
                <a:latin typeface="Invention" panose="020B0503020008020204" pitchFamily="34" charset="0"/>
              </a:rPr>
              <a:t>X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</a:rPr>
              <a:t> is response and time variant variables for individual i and time t.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ime-invariant variables in the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ε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random error with mean 0 and constant variance, uncorrelated with x and z. </a:t>
            </a:r>
            <a:r>
              <a:rPr lang="el-GR" altLang="en-US" sz="1800" dirty="0"/>
              <a:t>β</a:t>
            </a:r>
            <a:r>
              <a:rPr lang="en-US" altLang="en-US" sz="1800" dirty="0">
                <a:latin typeface="Invention" panose="020B0503020008020204" pitchFamily="34" charset="0"/>
              </a:rPr>
              <a:t>, </a:t>
            </a:r>
            <a:r>
              <a:rPr lang="el-GR" altLang="en-US" sz="1800" dirty="0"/>
              <a:t>γ</a:t>
            </a:r>
            <a:r>
              <a:rPr lang="en-US" altLang="en-US" sz="1800" dirty="0">
                <a:latin typeface="Invention" panose="020B0503020008020204" pitchFamily="34" charset="0"/>
              </a:rPr>
              <a:t> parameter estimates. Different intercepts at each time point, coefficients are same across times.</a:t>
            </a:r>
            <a:endParaRPr lang="el-GR" altLang="en-US" sz="1800" dirty="0"/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OLS (PROC REG):</a:t>
            </a:r>
          </a:p>
          <a:p>
            <a:pPr lvl="1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efficients will be unbiased but NOT efficient (true standard errors will be larger than necessary)</a:t>
            </a:r>
          </a:p>
          <a:p>
            <a:pPr lvl="1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ed standard errors and p values will be too low because error covariance across time ≠ 0.</a:t>
            </a:r>
          </a:p>
        </p:txBody>
      </p:sp>
      <p:graphicFrame>
        <p:nvGraphicFramePr>
          <p:cNvPr id="13317" name="Object 4">
            <a:extLst>
              <a:ext uri="{FF2B5EF4-FFF2-40B4-BE49-F238E27FC236}">
                <a16:creationId xmlns:a16="http://schemas.microsoft.com/office/drawing/2014/main" id="{57B695E2-B291-425A-D63F-11EFFEF90AA8}"/>
              </a:ext>
            </a:extLst>
          </p:cNvPr>
          <p:cNvGraphicFramePr>
            <a:graphicFrameLocks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3340640604"/>
              </p:ext>
            </p:extLst>
          </p:nvPr>
        </p:nvGraphicFramePr>
        <p:xfrm>
          <a:off x="3892032" y="1169581"/>
          <a:ext cx="3921181" cy="630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422400" imgH="228600" progId="Equation.3">
                  <p:embed/>
                </p:oleObj>
              </mc:Choice>
              <mc:Fallback>
                <p:oleObj name="Equation" r:id="rId3" imgW="1422400" imgH="228600" progId="Equation.3">
                  <p:embed/>
                  <p:pic>
                    <p:nvPicPr>
                      <p:cNvPr id="13317" name="Object 4">
                        <a:extLst>
                          <a:ext uri="{FF2B5EF4-FFF2-40B4-BE49-F238E27FC236}">
                            <a16:creationId xmlns:a16="http://schemas.microsoft.com/office/drawing/2014/main" id="{57B695E2-B291-425A-D63F-11EFFEF90A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92032" y="1169581"/>
                        <a:ext cx="3921181" cy="63031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5">
            <a:extLst>
              <a:ext uri="{FF2B5EF4-FFF2-40B4-BE49-F238E27FC236}">
                <a16:creationId xmlns:a16="http://schemas.microsoft.com/office/drawing/2014/main" id="{5AC89631-0154-6594-DB11-C81A8536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B6ADAB8-44D0-4674-B5E3-0D6D6DBEA99E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1D7FCD76-FEBE-2A81-E37A-EFCAA389F8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1</a:t>
            </a:r>
          </a:p>
        </p:txBody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4907E435-C34E-A2C8-8356-4DECCCE3C983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35935" y="950914"/>
            <a:ext cx="11493795" cy="522128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1 - Robust Standard Errors (PROC GENMOD):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	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The matrix V cap contains variances of the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     coefficients on the main diagonal and between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     coefficients off the diagonal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   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The robust standard errors are the roots of the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    main diagonal elements. 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lthough coefficients are same as OLS,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Robust standard errors are larger for vars 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with higher between individual variances.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ENMOD DATA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EPEATED SUBJECT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/ TYPE = IND;</a:t>
            </a:r>
          </a:p>
        </p:txBody>
      </p:sp>
      <p:graphicFrame>
        <p:nvGraphicFramePr>
          <p:cNvPr id="13318" name="Object 9">
            <a:extLst>
              <a:ext uri="{FF2B5EF4-FFF2-40B4-BE49-F238E27FC236}">
                <a16:creationId xmlns:a16="http://schemas.microsoft.com/office/drawing/2014/main" id="{F78E386D-B2DE-C487-829B-A03843AD98A6}"/>
              </a:ext>
            </a:extLst>
          </p:cNvPr>
          <p:cNvGraphicFramePr>
            <a:graphicFrameLocks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968237755"/>
              </p:ext>
            </p:extLst>
          </p:nvPr>
        </p:nvGraphicFramePr>
        <p:xfrm>
          <a:off x="6453949" y="2523368"/>
          <a:ext cx="5302116" cy="22931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819400" imgH="1219200" progId="Equation.3">
                  <p:embed/>
                </p:oleObj>
              </mc:Choice>
              <mc:Fallback>
                <p:oleObj name="Equation" r:id="rId3" imgW="2819400" imgH="1219200" progId="Equation.3">
                  <p:embed/>
                  <p:pic>
                    <p:nvPicPr>
                      <p:cNvPr id="13318" name="Object 9">
                        <a:extLst>
                          <a:ext uri="{FF2B5EF4-FFF2-40B4-BE49-F238E27FC236}">
                            <a16:creationId xmlns:a16="http://schemas.microsoft.com/office/drawing/2014/main" id="{F78E386D-B2DE-C487-829B-A03843AD98A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53949" y="2523368"/>
                        <a:ext cx="5302116" cy="2293179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8433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5">
            <a:extLst>
              <a:ext uri="{FF2B5EF4-FFF2-40B4-BE49-F238E27FC236}">
                <a16:creationId xmlns:a16="http://schemas.microsoft.com/office/drawing/2014/main" id="{62157CAE-1867-EFF5-6FCD-B41EA2F20F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8D051178-3285-4725-BC8E-19AFA42C4C2F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4339" name="Rectangle 2">
            <a:extLst>
              <a:ext uri="{FF2B5EF4-FFF2-40B4-BE49-F238E27FC236}">
                <a16:creationId xmlns:a16="http://schemas.microsoft.com/office/drawing/2014/main" id="{1C3083B4-12B4-20D7-DEB3-C1150ED5724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2</a:t>
            </a:r>
          </a:p>
        </p:txBody>
      </p:sp>
      <p:sp>
        <p:nvSpPr>
          <p:cNvPr id="14340" name="Rectangle 3">
            <a:extLst>
              <a:ext uri="{FF2B5EF4-FFF2-40B4-BE49-F238E27FC236}">
                <a16:creationId xmlns:a16="http://schemas.microsoft.com/office/drawing/2014/main" id="{69B83D9C-6738-D02A-B08C-35D47B117849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169333" y="950914"/>
            <a:ext cx="11887988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2: Generalized Estimating Equations (GEE) 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t produces EFFICIENT estimates of the coefficients (i.e., true standard errors will be optimally small). GEE does this by taking the over-time correlations into account when producing the estimat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LS estimates are obtained by the formula: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mega cap is not included in OLS estimat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mega cap is typically block diagonal and user specified (UN, AR, EXCH, MDEP(m) etc.,)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EE estimates are accompanied by robust standard error estimates in GENMOD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EE with EXCH structure is technically same as Random Intercepts model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ENMOD DATA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EPEATED SUBJECT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/ TYPE = UN CORRW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14341" name="Object 4">
            <a:extLst>
              <a:ext uri="{FF2B5EF4-FFF2-40B4-BE49-F238E27FC236}">
                <a16:creationId xmlns:a16="http://schemas.microsoft.com/office/drawing/2014/main" id="{1D2CA7A6-B208-F8D4-E5B9-66A0C087C84E}"/>
              </a:ext>
            </a:extLst>
          </p:cNvPr>
          <p:cNvGraphicFramePr>
            <a:graphicFrameLocks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3684582093"/>
              </p:ext>
            </p:extLst>
          </p:nvPr>
        </p:nvGraphicFramePr>
        <p:xfrm>
          <a:off x="6965656" y="2072575"/>
          <a:ext cx="3795713" cy="681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692400" imgH="482600" progId="Equation.3">
                  <p:embed/>
                </p:oleObj>
              </mc:Choice>
              <mc:Fallback>
                <p:oleObj name="Equation" r:id="rId3" imgW="2692400" imgH="482600" progId="Equation.3">
                  <p:embed/>
                  <p:pic>
                    <p:nvPicPr>
                      <p:cNvPr id="14341" name="Object 4">
                        <a:extLst>
                          <a:ext uri="{FF2B5EF4-FFF2-40B4-BE49-F238E27FC236}">
                            <a16:creationId xmlns:a16="http://schemas.microsoft.com/office/drawing/2014/main" id="{1D2CA7A6-B208-F8D4-E5B9-66A0C087C8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5656" y="2072575"/>
                        <a:ext cx="3795713" cy="68103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5">
            <a:extLst>
              <a:ext uri="{FF2B5EF4-FFF2-40B4-BE49-F238E27FC236}">
                <a16:creationId xmlns:a16="http://schemas.microsoft.com/office/drawing/2014/main" id="{B1EFCA4C-E841-7366-37C7-98A48E6C04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CDD60CD8-EB57-4FBA-B804-34A83FA00E49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5363" name="Rectangle 2">
            <a:extLst>
              <a:ext uri="{FF2B5EF4-FFF2-40B4-BE49-F238E27FC236}">
                <a16:creationId xmlns:a16="http://schemas.microsoft.com/office/drawing/2014/main" id="{A6ED3B68-93E1-23FE-D558-97C029CDBA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3</a:t>
            </a:r>
          </a:p>
        </p:txBody>
      </p:sp>
      <p:sp>
        <p:nvSpPr>
          <p:cNvPr id="15364" name="Rectangle 3">
            <a:extLst>
              <a:ext uri="{FF2B5EF4-FFF2-40B4-BE49-F238E27FC236}">
                <a16:creationId xmlns:a16="http://schemas.microsoft.com/office/drawing/2014/main" id="{E665D53B-B868-6B3E-D372-A2A6E302B8FA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25302" y="950914"/>
            <a:ext cx="11419368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Extended Model</a:t>
            </a:r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represents all differences between individuals that are stable over time and not otherwise accounted for by z’s. It can be said to represent “unobserved heterogeneity”.</a:t>
            </a:r>
            <a:endParaRPr lang="el-GR" altLang="en-US" sz="1800" dirty="0"/>
          </a:p>
          <a:p>
            <a:pPr eaLnBrk="1" hangingPunct="1"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3: Random Effects (Mixed) Models (PROC MIXED):</a:t>
            </a:r>
          </a:p>
          <a:p>
            <a:pPr lvl="1" eaLnBrk="1" hangingPunct="1">
              <a:spcBef>
                <a:spcPct val="50000"/>
              </a:spcBef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is assumed as N(0,</a:t>
            </a:r>
            <a:r>
              <a:rPr lang="el-GR" altLang="en-US" sz="1800" dirty="0"/>
              <a:t>Τ</a:t>
            </a:r>
            <a:r>
              <a:rPr lang="en-US" altLang="en-US" sz="1800" baseline="30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lang="en-US" altLang="en-US" sz="1800" dirty="0">
                <a:latin typeface="Invention" panose="020B0503020008020204" pitchFamily="34" charset="0"/>
              </a:rPr>
              <a:t>) and is UNCORRELATED with x, z, and error term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 effects models do not really control for unobservable variables because of the above assumptions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advantage is to test whether variance of </a:t>
            </a:r>
            <a:r>
              <a:rPr lang="el-GR" altLang="en-US" sz="1800" dirty="0"/>
              <a:t>α</a:t>
            </a:r>
            <a:r>
              <a:rPr lang="en-US" altLang="en-US" sz="1800" dirty="0">
                <a:latin typeface="Invention" panose="020B0503020008020204" pitchFamily="34" charset="0"/>
              </a:rPr>
              <a:t> is 0, which is equivalent to testing for dependence among the observation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an be extended to allow for random coefficients.</a:t>
            </a: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5365" name="Object 4">
            <a:extLst>
              <a:ext uri="{FF2B5EF4-FFF2-40B4-BE49-F238E27FC236}">
                <a16:creationId xmlns:a16="http://schemas.microsoft.com/office/drawing/2014/main" id="{887C18D6-DE68-6CA4-CE53-D2BEA1F27C08}"/>
              </a:ext>
            </a:extLst>
          </p:cNvPr>
          <p:cNvGraphicFramePr>
            <a:graphicFrameLocks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1789634810"/>
              </p:ext>
            </p:extLst>
          </p:nvPr>
        </p:nvGraphicFramePr>
        <p:xfrm>
          <a:off x="3264712" y="1339703"/>
          <a:ext cx="4176561" cy="561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01800" imgH="228600" progId="Equation.3">
                  <p:embed/>
                </p:oleObj>
              </mc:Choice>
              <mc:Fallback>
                <p:oleObj name="Equation" r:id="rId3" imgW="1701800" imgH="228600" progId="Equation.3">
                  <p:embed/>
                  <p:pic>
                    <p:nvPicPr>
                      <p:cNvPr id="15365" name="Object 4">
                        <a:extLst>
                          <a:ext uri="{FF2B5EF4-FFF2-40B4-BE49-F238E27FC236}">
                            <a16:creationId xmlns:a16="http://schemas.microsoft.com/office/drawing/2014/main" id="{887C18D6-DE68-6CA4-CE53-D2BEA1F27C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64712" y="1339703"/>
                        <a:ext cx="4176561" cy="561901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Model Part 3 - Top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276446" y="1453178"/>
            <a:ext cx="11078867" cy="4522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Longitudinal (or Panel) Data Analysi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Paul Allison Chapter 2 Run through with Nasonex Example (theory and output)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Fixed Effects Model – Summary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Concep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Randomized experiments vs Non-experimental studie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Fixed Effects Methods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LS / RE / FE  Methods and Exploration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L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obust Standard Error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Generalized Estimating Equation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andom Effec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Fixed Effec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Hybrid Method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Example Outputs</a:t>
            </a:r>
            <a:endParaRPr lang="en-US" sz="1800" dirty="0">
              <a:effectLst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iscussions on Panel Data analysis Classical Paper applied to Pharma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24798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5">
            <a:extLst>
              <a:ext uri="{FF2B5EF4-FFF2-40B4-BE49-F238E27FC236}">
                <a16:creationId xmlns:a16="http://schemas.microsoft.com/office/drawing/2014/main" id="{B1EFCA4C-E841-7366-37C7-98A48E6C04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CDD60CD8-EB57-4FBA-B804-34A83FA00E49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5363" name="Rectangle 2">
            <a:extLst>
              <a:ext uri="{FF2B5EF4-FFF2-40B4-BE49-F238E27FC236}">
                <a16:creationId xmlns:a16="http://schemas.microsoft.com/office/drawing/2014/main" id="{A6ED3B68-93E1-23FE-D558-97C029CDBA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3</a:t>
            </a:r>
          </a:p>
        </p:txBody>
      </p:sp>
      <p:sp>
        <p:nvSpPr>
          <p:cNvPr id="15364" name="Rectangle 3">
            <a:extLst>
              <a:ext uri="{FF2B5EF4-FFF2-40B4-BE49-F238E27FC236}">
                <a16:creationId xmlns:a16="http://schemas.microsoft.com/office/drawing/2014/main" id="{E665D53B-B868-6B3E-D372-A2A6E302B8FA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25302" y="1850065"/>
            <a:ext cx="11419368" cy="4322136"/>
          </a:xfrm>
        </p:spPr>
        <p:txBody>
          <a:bodyPr/>
          <a:lstStyle/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Use TSCSREG to do </a:t>
            </a:r>
            <a:r>
              <a:rPr lang="en-US" altLang="en-US" sz="1800" dirty="0" err="1">
                <a:latin typeface="Invention" panose="020B0503020008020204" pitchFamily="34" charset="0"/>
              </a:rPr>
              <a:t>Haussman</a:t>
            </a:r>
            <a:r>
              <a:rPr lang="en-US" altLang="en-US" sz="1800" dirty="0">
                <a:latin typeface="Invention" panose="020B0503020008020204" pitchFamily="34" charset="0"/>
              </a:rPr>
              <a:t> test to verify if we need to consider FE model (i.e., RE vs. FE model)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MPIRICAL option below provides robust standard errors.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MIXED DATA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COVTEST EMPIRICAL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ANDOM INTERCEPT / SUBJECT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79877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5">
            <a:extLst>
              <a:ext uri="{FF2B5EF4-FFF2-40B4-BE49-F238E27FC236}">
                <a16:creationId xmlns:a16="http://schemas.microsoft.com/office/drawing/2014/main" id="{B6343BF0-F492-D6C3-EAB5-F1A43C58FE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4E53096-5FCC-4EFD-B411-F5A2B6909B2D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5EC0856D-5EC6-15FD-90B4-CCE8F4A80E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4</a:t>
            </a:r>
          </a:p>
        </p:txBody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9246A3E4-BE32-2648-55DF-EC65E96CB2E0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584791" y="950914"/>
            <a:ext cx="10653823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Extended Model</a:t>
            </a:r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treated as a set of fixed constants, one for each individual. This allows it to be correlated with x, and z.</a:t>
            </a:r>
            <a:endParaRPr lang="el-GR" altLang="en-US" sz="1800" dirty="0"/>
          </a:p>
          <a:p>
            <a:pPr eaLnBrk="1" hangingPunct="1"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4: Fixed Effects Models (PROC GLM)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not only produce standard errors that adjust for dependence, they also </a:t>
            </a:r>
            <a:r>
              <a:rPr lang="en-US" altLang="en-US" sz="1800" i="1" u="sng" dirty="0">
                <a:latin typeface="Invention" panose="020B0503020008020204" pitchFamily="34" charset="0"/>
              </a:rPr>
              <a:t>control for all stable characteristics of the individuals</a:t>
            </a:r>
            <a:r>
              <a:rPr lang="en-US" altLang="en-US" sz="1800" dirty="0">
                <a:latin typeface="Invention" panose="020B0503020008020204" pitchFamily="34" charset="0"/>
              </a:rPr>
              <a:t>, whether observed or unobserved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ventional Fixed Effects will NOT produce coefficient estimates for time-invariant predictors (sinc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>
                <a:latin typeface="Invention" panose="020B0503020008020204" pitchFamily="34" charset="0"/>
              </a:rPr>
              <a:t>is perfectly collinear with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). 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6389" name="Object 4">
            <a:extLst>
              <a:ext uri="{FF2B5EF4-FFF2-40B4-BE49-F238E27FC236}">
                <a16:creationId xmlns:a16="http://schemas.microsoft.com/office/drawing/2014/main" id="{A9481713-60FD-D70D-FF0F-DE1D246B0712}"/>
              </a:ext>
            </a:extLst>
          </p:cNvPr>
          <p:cNvGraphicFramePr>
            <a:graphicFrameLocks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1253240608"/>
              </p:ext>
            </p:extLst>
          </p:nvPr>
        </p:nvGraphicFramePr>
        <p:xfrm>
          <a:off x="3483055" y="1396669"/>
          <a:ext cx="3528121" cy="474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01800" imgH="228600" progId="Equation.3">
                  <p:embed/>
                </p:oleObj>
              </mc:Choice>
              <mc:Fallback>
                <p:oleObj name="Equation" r:id="rId3" imgW="1701800" imgH="228600" progId="Equation.3">
                  <p:embed/>
                  <p:pic>
                    <p:nvPicPr>
                      <p:cNvPr id="16389" name="Object 4">
                        <a:extLst>
                          <a:ext uri="{FF2B5EF4-FFF2-40B4-BE49-F238E27FC236}">
                            <a16:creationId xmlns:a16="http://schemas.microsoft.com/office/drawing/2014/main" id="{A9481713-60FD-D70D-FF0F-DE1D246B07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83055" y="1396669"/>
                        <a:ext cx="3528121" cy="47466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5">
            <a:extLst>
              <a:ext uri="{FF2B5EF4-FFF2-40B4-BE49-F238E27FC236}">
                <a16:creationId xmlns:a16="http://schemas.microsoft.com/office/drawing/2014/main" id="{B6343BF0-F492-D6C3-EAB5-F1A43C58FE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4E53096-5FCC-4EFD-B411-F5A2B6909B2D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5EC0856D-5EC6-15FD-90B4-CCE8F4A80E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Exploration - 4</a:t>
            </a:r>
          </a:p>
        </p:txBody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9246A3E4-BE32-2648-55DF-EC65E96CB2E0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50875" y="1331913"/>
            <a:ext cx="11536325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4: Fixed Effects Models (PROC GLM) – cont’d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trick to simplify the estimation is to “condition out” th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’s. Conditioning out is achieved by centering the individual level vars across time for </a:t>
            </a:r>
            <a:r>
              <a:rPr lang="en-US" altLang="en-US" sz="1800" u="sng" dirty="0">
                <a:latin typeface="Invention" panose="020B0503020008020204" pitchFamily="34" charset="0"/>
              </a:rPr>
              <a:t>each</a:t>
            </a:r>
            <a:r>
              <a:rPr lang="en-US" altLang="en-US" sz="1800" dirty="0">
                <a:latin typeface="Invention" panose="020B0503020008020204" pitchFamily="34" charset="0"/>
              </a:rPr>
              <a:t> individual. Then, regress the centered variables along with time indicat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utomatically done using ABSORB statement in PROC GLM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LM DATA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SORB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x1 x2 x3 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6390" name="Object 5">
            <a:extLst>
              <a:ext uri="{FF2B5EF4-FFF2-40B4-BE49-F238E27FC236}">
                <a16:creationId xmlns:a16="http://schemas.microsoft.com/office/drawing/2014/main" id="{0591514E-5138-FD79-1C63-7BB2839595F6}"/>
              </a:ext>
            </a:extLst>
          </p:cNvPr>
          <p:cNvGraphicFramePr>
            <a:graphicFrameLocks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1525428063"/>
              </p:ext>
            </p:extLst>
          </p:nvPr>
        </p:nvGraphicFramePr>
        <p:xfrm>
          <a:off x="7104044" y="3664983"/>
          <a:ext cx="3678843" cy="1428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65300" imgH="685800" progId="Equation.3">
                  <p:embed/>
                </p:oleObj>
              </mc:Choice>
              <mc:Fallback>
                <p:oleObj name="Equation" r:id="rId3" imgW="1765300" imgH="685800" progId="Equation.3">
                  <p:embed/>
                  <p:pic>
                    <p:nvPicPr>
                      <p:cNvPr id="16390" name="Object 5">
                        <a:extLst>
                          <a:ext uri="{FF2B5EF4-FFF2-40B4-BE49-F238E27FC236}">
                            <a16:creationId xmlns:a16="http://schemas.microsoft.com/office/drawing/2014/main" id="{0591514E-5138-FD79-1C63-7BB2839595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04044" y="3664983"/>
                        <a:ext cx="3678843" cy="142801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06686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5">
            <a:extLst>
              <a:ext uri="{FF2B5EF4-FFF2-40B4-BE49-F238E27FC236}">
                <a16:creationId xmlns:a16="http://schemas.microsoft.com/office/drawing/2014/main" id="{3F29A2CF-8C9C-832C-37A1-9BE865882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AF33B56-DEA3-4F36-A3BE-3B9B74EEAADA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7411" name="Rectangle 2">
            <a:extLst>
              <a:ext uri="{FF2B5EF4-FFF2-40B4-BE49-F238E27FC236}">
                <a16:creationId xmlns:a16="http://schemas.microsoft.com/office/drawing/2014/main" id="{B6E34386-9846-3A1C-AA55-47799D89A4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</a:rPr>
              <a:t>OLS / RE / FE Methods Exploration - 5</a:t>
            </a:r>
          </a:p>
        </p:txBody>
      </p:sp>
      <p:sp>
        <p:nvSpPr>
          <p:cNvPr id="17412" name="Rectangle 3">
            <a:extLst>
              <a:ext uri="{FF2B5EF4-FFF2-40B4-BE49-F238E27FC236}">
                <a16:creationId xmlns:a16="http://schemas.microsoft.com/office/drawing/2014/main" id="{FD6F3C7B-88C6-97B6-EFF7-DBE224DEFC8B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510363" y="1605516"/>
            <a:ext cx="11072037" cy="4566685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5: Fixed Effects Models (cont’d)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use only variation within individuals to estimate the coefficients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 consequence is that standard errors tend to be larger for FE models than for RE or GEE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ach individual serves as his or her own control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b="1" i="1" dirty="0">
                <a:latin typeface="Invention" panose="020B0503020008020204" pitchFamily="34" charset="0"/>
              </a:rPr>
              <a:t>In sum, FE methods reduce bias but at the expense of increased standard err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f there’s very little variation within individuals, FE methods are not useful.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5">
            <a:extLst>
              <a:ext uri="{FF2B5EF4-FFF2-40B4-BE49-F238E27FC236}">
                <a16:creationId xmlns:a16="http://schemas.microsoft.com/office/drawing/2014/main" id="{3F29A2CF-8C9C-832C-37A1-9BE865882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AF33B56-DEA3-4F36-A3BE-3B9B74EEAADA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7411" name="Rectangle 2">
            <a:extLst>
              <a:ext uri="{FF2B5EF4-FFF2-40B4-BE49-F238E27FC236}">
                <a16:creationId xmlns:a16="http://schemas.microsoft.com/office/drawing/2014/main" id="{B6E34386-9846-3A1C-AA55-47799D89A4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</a:rPr>
              <a:t>OLS / RE / FE Methods Exploration - 5</a:t>
            </a:r>
          </a:p>
        </p:txBody>
      </p:sp>
      <p:sp>
        <p:nvSpPr>
          <p:cNvPr id="17412" name="Rectangle 3">
            <a:extLst>
              <a:ext uri="{FF2B5EF4-FFF2-40B4-BE49-F238E27FC236}">
                <a16:creationId xmlns:a16="http://schemas.microsoft.com/office/drawing/2014/main" id="{FD6F3C7B-88C6-97B6-EFF7-DBE224DEFC8B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510363" y="1084521"/>
            <a:ext cx="11072037" cy="508768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6: Hybrid method (PROC MIXED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tends the virtues of FE and RE methods. Produces FE estimates for time-varying predictors and RE estimates for time-invariant predict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b="1" i="1" dirty="0">
                <a:latin typeface="Invention" panose="020B0503020008020204" pitchFamily="34" charset="0"/>
              </a:rPr>
              <a:t>Provides a test of FE vs. RE models for each of the time-varying parameters</a:t>
            </a:r>
            <a:r>
              <a:rPr lang="en-US" altLang="en-US" sz="1800" dirty="0">
                <a:latin typeface="Invention" panose="020B0503020008020204" pitchFamily="34" charset="0"/>
              </a:rPr>
              <a:t>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an be extended to allow for random coefficients and more complicated error structur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Basic Idea:</a:t>
            </a:r>
          </a:p>
          <a:p>
            <a:pPr lvl="2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2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ecompose each time-varying predictor into within and between individual values.</a:t>
            </a: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Put both parts in RE model along with z and time indicators.</a:t>
            </a: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est whether coefficients for the two parts are same (using CONTRASTS).</a:t>
            </a:r>
          </a:p>
        </p:txBody>
      </p:sp>
      <p:graphicFrame>
        <p:nvGraphicFramePr>
          <p:cNvPr id="17413" name="Object 5">
            <a:extLst>
              <a:ext uri="{FF2B5EF4-FFF2-40B4-BE49-F238E27FC236}">
                <a16:creationId xmlns:a16="http://schemas.microsoft.com/office/drawing/2014/main" id="{D0B5509F-9845-4AC4-CF5C-E120226571BE}"/>
              </a:ext>
            </a:extLst>
          </p:cNvPr>
          <p:cNvGraphicFramePr>
            <a:graphicFrameLocks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2331293390"/>
              </p:ext>
            </p:extLst>
          </p:nvPr>
        </p:nvGraphicFramePr>
        <p:xfrm>
          <a:off x="4645689" y="3429001"/>
          <a:ext cx="2777837" cy="569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117600" imgH="228600" progId="Equation.3">
                  <p:embed/>
                </p:oleObj>
              </mc:Choice>
              <mc:Fallback>
                <p:oleObj name="Equation" r:id="rId3" imgW="1117600" imgH="228600" progId="Equation.3">
                  <p:embed/>
                  <p:pic>
                    <p:nvPicPr>
                      <p:cNvPr id="17413" name="Object 5">
                        <a:extLst>
                          <a:ext uri="{FF2B5EF4-FFF2-40B4-BE49-F238E27FC236}">
                            <a16:creationId xmlns:a16="http://schemas.microsoft.com/office/drawing/2014/main" id="{D0B5509F-9845-4AC4-CF5C-E120226571B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5689" y="3429001"/>
                        <a:ext cx="2777837" cy="56924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1108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868F2DD4-79F5-C04B-5532-2C8A6E5B09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159D7874-8937-4D02-878D-48F2BD0E6BBC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8435" name="Rectangle 2">
            <a:extLst>
              <a:ext uri="{FF2B5EF4-FFF2-40B4-BE49-F238E27FC236}">
                <a16:creationId xmlns:a16="http://schemas.microsoft.com/office/drawing/2014/main" id="{B0A95336-497D-D9A2-67C5-04D9FC02D3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>
                <a:latin typeface="Invention Light" panose="020B0403020008020204" pitchFamily="34" charset="0"/>
              </a:rPr>
              <a:t>OLS / RE / FE Methods - Example</a:t>
            </a:r>
          </a:p>
        </p:txBody>
      </p:sp>
      <p:sp>
        <p:nvSpPr>
          <p:cNvPr id="18436" name="Rectangle 3">
            <a:extLst>
              <a:ext uri="{FF2B5EF4-FFF2-40B4-BE49-F238E27FC236}">
                <a16:creationId xmlns:a16="http://schemas.microsoft.com/office/drawing/2014/main" id="{67440F21-DCAE-D225-1A9A-6ADDAA56C4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5804" y="5391151"/>
            <a:ext cx="11100391" cy="865188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Note changes in Lagged NRx and Details (while non significant samples)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Stability differences in GRPNAS and GRPOTC in both tables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A very different values for GRPNAS across two tables (a possible pointer to model structure issues)</a:t>
            </a:r>
          </a:p>
        </p:txBody>
      </p:sp>
      <p:pic>
        <p:nvPicPr>
          <p:cNvPr id="18437" name="Picture 5">
            <a:extLst>
              <a:ext uri="{FF2B5EF4-FFF2-40B4-BE49-F238E27FC236}">
                <a16:creationId xmlns:a16="http://schemas.microsoft.com/office/drawing/2014/main" id="{15062E55-B289-1799-26B0-E101734CC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401" y="1000125"/>
            <a:ext cx="5337175" cy="4356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8" name="Picture 6">
            <a:extLst>
              <a:ext uri="{FF2B5EF4-FFF2-40B4-BE49-F238E27FC236}">
                <a16:creationId xmlns:a16="http://schemas.microsoft.com/office/drawing/2014/main" id="{30CCFF23-B156-722A-FDD2-DA9416E6B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539" y="1008064"/>
            <a:ext cx="2998787" cy="43830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>
            <a:extLst>
              <a:ext uri="{FF2B5EF4-FFF2-40B4-BE49-F238E27FC236}">
                <a16:creationId xmlns:a16="http://schemas.microsoft.com/office/drawing/2014/main" id="{3612701C-9425-553D-BAC7-C2524E3123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145DF22-2BF6-4BDB-9C19-0A35D310BC6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7391C742-F103-197B-FD7A-05B383DA6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59219" y="2100264"/>
            <a:ext cx="10685721" cy="2025169"/>
          </a:xfrm>
        </p:spPr>
        <p:txBody>
          <a:bodyPr/>
          <a:lstStyle/>
          <a:p>
            <a:pPr marL="457200" marR="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iscussions on Panel Data Analysis Classical Paper applied to Pharm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800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zik and Jacobson Paper Link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0.gsb.columbia.edu/mygsb/faculty/research/pubfiles/1079/Mizik_are_physicians_easy_marks.pdf</a:t>
            </a:r>
            <a:endParaRPr lang="en-US" altLang="en-US" dirty="0">
              <a:latin typeface="Invention" panose="020B05030200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881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Longitudinal or Panel Data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7FA0F43-6D7E-E612-FF80-7347BE6C3533}"/>
              </a:ext>
            </a:extLst>
          </p:cNvPr>
          <p:cNvSpPr txBox="1">
            <a:spLocks noChangeArrowheads="1"/>
          </p:cNvSpPr>
          <p:nvPr/>
        </p:nvSpPr>
        <p:spPr>
          <a:xfrm>
            <a:off x="499730" y="1471613"/>
            <a:ext cx="11196084" cy="4847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50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5138" indent="-1158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1025" indent="-1158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400"/>
              </a:spcAft>
              <a:buFont typeface="Arial" panose="020B0604020202020204" pitchFamily="34" charset="0"/>
              <a:buNone/>
              <a:def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None/>
            </a:pPr>
            <a:r>
              <a:rPr lang="en-US" altLang="en-US" sz="2000" dirty="0"/>
              <a:t>Has data that changes over time for each of the individuals in the data. Examples are listed: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E6CEE29-CB7F-3A5A-7687-B94303107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0" y="2180822"/>
            <a:ext cx="3935412" cy="40655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B37FAE-2049-5F44-02E1-94FC9E549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477" y="2247011"/>
            <a:ext cx="4610100" cy="25241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07323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>
            <a:extLst>
              <a:ext uri="{FF2B5EF4-FFF2-40B4-BE49-F238E27FC236}">
                <a16:creationId xmlns:a16="http://schemas.microsoft.com/office/drawing/2014/main" id="{956F7A43-46AF-68F3-E599-82E208312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C11A33F-2668-49E5-AF11-963EC5D3C1B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C9621499-DAEE-E78F-831C-870BFADB97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BC9A335F-2F52-DFCF-109F-28384062ED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76177" y="966789"/>
            <a:ext cx="10653823" cy="538638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Let us consider following model structure:</a:t>
            </a: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r>
              <a:rPr lang="en-US" altLang="en-US" sz="1800" dirty="0" err="1">
                <a:latin typeface="Invention" panose="020B0503020008020204" pitchFamily="34" charset="0"/>
              </a:rPr>
              <a:t>Y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altLang="en-US" sz="1800" dirty="0" err="1">
                <a:latin typeface="Invention" panose="020B0503020008020204" pitchFamily="34" charset="0"/>
              </a:rPr>
              <a:t>X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</a:rPr>
              <a:t> is response and time variant variables for individual i and time t.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ime-invariant variables in the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treated as a set of fixed constants, one for each individual. This allows it to be correlated with x, z.</a:t>
            </a:r>
            <a:endParaRPr lang="el-GR" altLang="en-US" sz="1800" dirty="0"/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ε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random error with mean 0 and constant variance, uncorrelated with x and z. </a:t>
            </a:r>
            <a:r>
              <a:rPr lang="el-GR" altLang="en-US" sz="1800" dirty="0"/>
              <a:t>β</a:t>
            </a:r>
            <a:r>
              <a:rPr lang="en-US" altLang="en-US" sz="1800" dirty="0">
                <a:latin typeface="Invention" panose="020B0503020008020204" pitchFamily="34" charset="0"/>
              </a:rPr>
              <a:t>, </a:t>
            </a:r>
            <a:r>
              <a:rPr lang="el-GR" altLang="en-US" sz="1800" dirty="0"/>
              <a:t>γ</a:t>
            </a:r>
            <a:r>
              <a:rPr lang="en-US" altLang="en-US" sz="1800" dirty="0">
                <a:latin typeface="Invention" panose="020B0503020008020204" pitchFamily="34" charset="0"/>
              </a:rPr>
              <a:t> parameter estimates. Different intercepts at each time point, coefficients are same across times.</a:t>
            </a:r>
            <a:endParaRPr lang="el-GR" altLang="en-US" sz="1800" dirty="0"/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ample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2000" dirty="0">
              <a:latin typeface="Invention" panose="020B0503020008020204" pitchFamily="34" charset="0"/>
            </a:endParaRPr>
          </a:p>
        </p:txBody>
      </p:sp>
      <p:graphicFrame>
        <p:nvGraphicFramePr>
          <p:cNvPr id="5125" name="Object 1">
            <a:extLst>
              <a:ext uri="{FF2B5EF4-FFF2-40B4-BE49-F238E27FC236}">
                <a16:creationId xmlns:a16="http://schemas.microsoft.com/office/drawing/2014/main" id="{CA87E8DD-7D8D-6CDD-78D9-A55A47DA477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8496704"/>
              </p:ext>
            </p:extLst>
          </p:nvPr>
        </p:nvGraphicFramePr>
        <p:xfrm>
          <a:off x="3548540" y="1515065"/>
          <a:ext cx="3706813" cy="458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744640" imgH="385920" progId="Equation.3">
                  <p:embed/>
                </p:oleObj>
              </mc:Choice>
              <mc:Fallback>
                <p:oleObj name="Equation" r:id="rId3" imgW="2744640" imgH="385920" progId="Equation.3">
                  <p:embed/>
                  <p:pic>
                    <p:nvPicPr>
                      <p:cNvPr id="5125" name="Object 1">
                        <a:extLst>
                          <a:ext uri="{FF2B5EF4-FFF2-40B4-BE49-F238E27FC236}">
                            <a16:creationId xmlns:a16="http://schemas.microsoft.com/office/drawing/2014/main" id="{CA87E8DD-7D8D-6CDD-78D9-A55A47DA47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8540" y="1515065"/>
                        <a:ext cx="3706813" cy="4587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6" name="Object 2">
            <a:extLst>
              <a:ext uri="{FF2B5EF4-FFF2-40B4-BE49-F238E27FC236}">
                <a16:creationId xmlns:a16="http://schemas.microsoft.com/office/drawing/2014/main" id="{67D04930-6AA0-2348-6C2F-67BE4AF6F84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94198804"/>
              </p:ext>
            </p:extLst>
          </p:nvPr>
        </p:nvGraphicFramePr>
        <p:xfrm>
          <a:off x="2897650" y="4666436"/>
          <a:ext cx="5980112" cy="820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3251160" imgH="457200" progId="Equation.3">
                  <p:embed/>
                </p:oleObj>
              </mc:Choice>
              <mc:Fallback>
                <p:oleObj name="Equation" r:id="rId5" imgW="3251160" imgH="457200" progId="Equation.3">
                  <p:embed/>
                  <p:pic>
                    <p:nvPicPr>
                      <p:cNvPr id="5126" name="Object 2">
                        <a:extLst>
                          <a:ext uri="{FF2B5EF4-FFF2-40B4-BE49-F238E27FC236}">
                            <a16:creationId xmlns:a16="http://schemas.microsoft.com/office/drawing/2014/main" id="{67D04930-6AA0-2348-6C2F-67BE4AF6F8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7650" y="4666436"/>
                        <a:ext cx="5980112" cy="8207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0">
            <a:extLst>
              <a:ext uri="{FF2B5EF4-FFF2-40B4-BE49-F238E27FC236}">
                <a16:creationId xmlns:a16="http://schemas.microsoft.com/office/drawing/2014/main" id="{102930F6-44DB-FC6F-5645-6E0313817880}"/>
              </a:ext>
            </a:extLst>
          </p:cNvPr>
          <p:cNvGrpSpPr>
            <a:grpSpLocks/>
          </p:cNvGrpSpPr>
          <p:nvPr/>
        </p:nvGrpSpPr>
        <p:grpSpPr bwMode="auto">
          <a:xfrm>
            <a:off x="10598151" y="538163"/>
            <a:ext cx="586316" cy="176212"/>
            <a:chOff x="5007" y="339"/>
            <a:chExt cx="133" cy="111"/>
          </a:xfrm>
        </p:grpSpPr>
        <p:sp>
          <p:nvSpPr>
            <p:cNvPr id="3" name="Freeform 55">
              <a:extLst>
                <a:ext uri="{FF2B5EF4-FFF2-40B4-BE49-F238E27FC236}">
                  <a16:creationId xmlns:a16="http://schemas.microsoft.com/office/drawing/2014/main" id="{DD51A2AC-8975-9136-A768-243F4BF59C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4" name="Freeform 56">
              <a:extLst>
                <a:ext uri="{FF2B5EF4-FFF2-40B4-BE49-F238E27FC236}">
                  <a16:creationId xmlns:a16="http://schemas.microsoft.com/office/drawing/2014/main" id="{89876D00-1287-9A7E-A967-23FD248153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5" name="Line 57">
              <a:extLst>
                <a:ext uri="{FF2B5EF4-FFF2-40B4-BE49-F238E27FC236}">
                  <a16:creationId xmlns:a16="http://schemas.microsoft.com/office/drawing/2014/main" id="{24945483-DA13-4C3B-3745-3A55ADD985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6" name="Freeform 58">
              <a:extLst>
                <a:ext uri="{FF2B5EF4-FFF2-40B4-BE49-F238E27FC236}">
                  <a16:creationId xmlns:a16="http://schemas.microsoft.com/office/drawing/2014/main" id="{F00B0D0E-64FA-B1B4-4F95-F015457F2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7" name="Freeform 59">
              <a:extLst>
                <a:ext uri="{FF2B5EF4-FFF2-40B4-BE49-F238E27FC236}">
                  <a16:creationId xmlns:a16="http://schemas.microsoft.com/office/drawing/2014/main" id="{58A8FED3-95CC-55D8-4345-ED44A4178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>
            <a:extLst>
              <a:ext uri="{FF2B5EF4-FFF2-40B4-BE49-F238E27FC236}">
                <a16:creationId xmlns:a16="http://schemas.microsoft.com/office/drawing/2014/main" id="{956F7A43-46AF-68F3-E599-82E208312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C11A33F-2668-49E5-AF11-963EC5D3C1B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C9621499-DAEE-E78F-831C-870BFADB97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BC9A335F-2F52-DFCF-109F-28384062ED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72140" y="966789"/>
            <a:ext cx="11423521" cy="53863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ignores between-person variation and focuses only on withi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isadvantage: Discarding between-person variation can yield standard errors that are considerably higher than those methods that use both within- and betwee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dvantage: Between-person variation is very likely to be contaminated by unmeasured personal characteristics that are correlated with dependent and/or other independent variables. By restricting ourselves to within-person variation, we eliminate that contamination and are much more likely to get unbiased estimate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e are dealing with the trade-off between bias and sampling variability. For nonexperimental data, fixed effects methods tend to reduce bias at the expense of greater sampling variability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 methods do not provide an estimate for time-invariant variables. Interactions between time-invariant and time-variant vars could be estimated.</a:t>
            </a:r>
          </a:p>
        </p:txBody>
      </p:sp>
      <p:grpSp>
        <p:nvGrpSpPr>
          <p:cNvPr id="2" name="Group 60">
            <a:extLst>
              <a:ext uri="{FF2B5EF4-FFF2-40B4-BE49-F238E27FC236}">
                <a16:creationId xmlns:a16="http://schemas.microsoft.com/office/drawing/2014/main" id="{102930F6-44DB-FC6F-5645-6E0313817880}"/>
              </a:ext>
            </a:extLst>
          </p:cNvPr>
          <p:cNvGrpSpPr>
            <a:grpSpLocks/>
          </p:cNvGrpSpPr>
          <p:nvPr/>
        </p:nvGrpSpPr>
        <p:grpSpPr bwMode="auto">
          <a:xfrm>
            <a:off x="10598151" y="538163"/>
            <a:ext cx="586316" cy="176212"/>
            <a:chOff x="5007" y="339"/>
            <a:chExt cx="133" cy="111"/>
          </a:xfrm>
        </p:grpSpPr>
        <p:sp>
          <p:nvSpPr>
            <p:cNvPr id="3" name="Freeform 55">
              <a:extLst>
                <a:ext uri="{FF2B5EF4-FFF2-40B4-BE49-F238E27FC236}">
                  <a16:creationId xmlns:a16="http://schemas.microsoft.com/office/drawing/2014/main" id="{DD51A2AC-8975-9136-A768-243F4BF59C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4" name="Freeform 56">
              <a:extLst>
                <a:ext uri="{FF2B5EF4-FFF2-40B4-BE49-F238E27FC236}">
                  <a16:creationId xmlns:a16="http://schemas.microsoft.com/office/drawing/2014/main" id="{89876D00-1287-9A7E-A967-23FD248153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5" name="Line 57">
              <a:extLst>
                <a:ext uri="{FF2B5EF4-FFF2-40B4-BE49-F238E27FC236}">
                  <a16:creationId xmlns:a16="http://schemas.microsoft.com/office/drawing/2014/main" id="{24945483-DA13-4C3B-3745-3A55ADD985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6" name="Freeform 58">
              <a:extLst>
                <a:ext uri="{FF2B5EF4-FFF2-40B4-BE49-F238E27FC236}">
                  <a16:creationId xmlns:a16="http://schemas.microsoft.com/office/drawing/2014/main" id="{F00B0D0E-64FA-B1B4-4F95-F015457F2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7" name="Freeform 59">
              <a:extLst>
                <a:ext uri="{FF2B5EF4-FFF2-40B4-BE49-F238E27FC236}">
                  <a16:creationId xmlns:a16="http://schemas.microsoft.com/office/drawing/2014/main" id="{58A8FED3-95CC-55D8-4345-ED44A4178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</p:spTree>
    <p:extLst>
      <p:ext uri="{BB962C8B-B14F-4D97-AF65-F5344CB8AC3E}">
        <p14:creationId xmlns:p14="http://schemas.microsoft.com/office/powerpoint/2010/main" val="1310722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>
            <a:extLst>
              <a:ext uri="{FF2B5EF4-FFF2-40B4-BE49-F238E27FC236}">
                <a16:creationId xmlns:a16="http://schemas.microsoft.com/office/drawing/2014/main" id="{BA849F34-92D5-23A1-2063-0DFA912C5E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AD63918-D2F0-418F-A720-535C7C59ED8B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B953927F-A83C-49DA-384E-902B883761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 – Estimation with two time periods</a:t>
            </a:r>
          </a:p>
        </p:txBody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8C944EC0-8B9E-E69E-2DF0-C2FCB3D4A4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39971" y="966789"/>
            <a:ext cx="10568763" cy="538638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sider a simple model with 2 time periods (Pre and Post)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panding and Differencing for each individual results in the elimination of the unobserved variabl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. 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ing change in NRx as a function of change in details produces detail estimate for the fixed effects model after controlling for all time invariant variables.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6149" name="Object 1">
            <a:extLst>
              <a:ext uri="{FF2B5EF4-FFF2-40B4-BE49-F238E27FC236}">
                <a16:creationId xmlns:a16="http://schemas.microsoft.com/office/drawing/2014/main" id="{1DB8D25E-8FF8-48F6-1940-028087ECA2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859549"/>
              </p:ext>
            </p:extLst>
          </p:nvPr>
        </p:nvGraphicFramePr>
        <p:xfrm>
          <a:off x="4209920" y="1419081"/>
          <a:ext cx="3470275" cy="49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39880" imgH="228600" progId="Equation.3">
                  <p:embed/>
                </p:oleObj>
              </mc:Choice>
              <mc:Fallback>
                <p:oleObj name="Equation" r:id="rId3" imgW="1739880" imgH="228600" progId="Equation.3">
                  <p:embed/>
                  <p:pic>
                    <p:nvPicPr>
                      <p:cNvPr id="6149" name="Object 1">
                        <a:extLst>
                          <a:ext uri="{FF2B5EF4-FFF2-40B4-BE49-F238E27FC236}">
                            <a16:creationId xmlns:a16="http://schemas.microsoft.com/office/drawing/2014/main" id="{1DB8D25E-8FF8-48F6-1940-028087ECA2C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09920" y="1419081"/>
                        <a:ext cx="3470275" cy="4905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150" name="Object 2">
            <a:extLst>
              <a:ext uri="{FF2B5EF4-FFF2-40B4-BE49-F238E27FC236}">
                <a16:creationId xmlns:a16="http://schemas.microsoft.com/office/drawing/2014/main" id="{52EB3CE6-D33F-D641-5EF0-F8DFA6B78F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1037620"/>
              </p:ext>
            </p:extLst>
          </p:nvPr>
        </p:nvGraphicFramePr>
        <p:xfrm>
          <a:off x="1896139" y="3136568"/>
          <a:ext cx="8097838" cy="1511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4152600" imgH="736560" progId="Equation.3">
                  <p:embed/>
                </p:oleObj>
              </mc:Choice>
              <mc:Fallback>
                <p:oleObj name="Equation" r:id="rId5" imgW="4152600" imgH="736560" progId="Equation.3">
                  <p:embed/>
                  <p:pic>
                    <p:nvPicPr>
                      <p:cNvPr id="6150" name="Object 2">
                        <a:extLst>
                          <a:ext uri="{FF2B5EF4-FFF2-40B4-BE49-F238E27FC236}">
                            <a16:creationId xmlns:a16="http://schemas.microsoft.com/office/drawing/2014/main" id="{52EB3CE6-D33F-D641-5EF0-F8DFA6B78F8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6139" y="3136568"/>
                        <a:ext cx="8097838" cy="151130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>
            <a:extLst>
              <a:ext uri="{FF2B5EF4-FFF2-40B4-BE49-F238E27FC236}">
                <a16:creationId xmlns:a16="http://schemas.microsoft.com/office/drawing/2014/main" id="{AF62C5C2-29BD-B4CC-4CED-6C1A3A561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42A6DF2-DF84-4858-92FF-781E670EA25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5AF116EA-1521-D540-E00D-BEA3D5007B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 – Estimation with more than two time periods</a:t>
            </a:r>
          </a:p>
        </p:txBody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C34F11B8-EEAD-74AA-442C-9B35F792990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78465" y="966789"/>
            <a:ext cx="11525693" cy="538638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sider the Fixed Effects model with more than two time points per individual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ion is done by differencing the “mean across time” for each individual (i.e., centering the variables)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trick to simplify the estimation is to “condition out” th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’s. Conditioning out is achieved by centering the individual level variables across time for </a:t>
            </a:r>
            <a:r>
              <a:rPr lang="en-US" altLang="en-US" sz="1800" u="sng" dirty="0">
                <a:latin typeface="Invention" panose="020B0503020008020204" pitchFamily="34" charset="0"/>
              </a:rPr>
              <a:t>each</a:t>
            </a:r>
            <a:r>
              <a:rPr lang="en-US" altLang="en-US" sz="1800" dirty="0">
                <a:latin typeface="Invention" panose="020B0503020008020204" pitchFamily="34" charset="0"/>
              </a:rPr>
              <a:t> individual. Then, regress the centered variables along with time indicators.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utomatically done using ABSORB statement in PROC GLM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LM DATA=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SORB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hys_id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_month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NRx = </a:t>
            </a:r>
            <a:r>
              <a:rPr lang="en-US" altLang="en-US" sz="1800" dirty="0" err="1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_month</a:t>
            </a:r>
            <a:r>
              <a:rPr lang="en-US" altLang="en-US" sz="1800" dirty="0">
                <a:solidFill>
                  <a:schemeClr val="accent2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Details 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7173" name="Object 1">
            <a:extLst>
              <a:ext uri="{FF2B5EF4-FFF2-40B4-BE49-F238E27FC236}">
                <a16:creationId xmlns:a16="http://schemas.microsoft.com/office/drawing/2014/main" id="{761D1AC5-26B6-B562-A91D-C81214C8F31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367214" y="1371600"/>
          <a:ext cx="3470275" cy="49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39880" imgH="228600" progId="Equation.3">
                  <p:embed/>
                </p:oleObj>
              </mc:Choice>
              <mc:Fallback>
                <p:oleObj name="Equation" r:id="rId3" imgW="1739880" imgH="228600" progId="Equation.3">
                  <p:embed/>
                  <p:pic>
                    <p:nvPicPr>
                      <p:cNvPr id="7173" name="Object 1">
                        <a:extLst>
                          <a:ext uri="{FF2B5EF4-FFF2-40B4-BE49-F238E27FC236}">
                            <a16:creationId xmlns:a16="http://schemas.microsoft.com/office/drawing/2014/main" id="{761D1AC5-26B6-B562-A91D-C81214C8F3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67214" y="1371600"/>
                        <a:ext cx="3470275" cy="4905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74" name="Object 4">
            <a:extLst>
              <a:ext uri="{FF2B5EF4-FFF2-40B4-BE49-F238E27FC236}">
                <a16:creationId xmlns:a16="http://schemas.microsoft.com/office/drawing/2014/main" id="{CA26D90D-F54C-B578-7765-D9A465E81F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5488615"/>
              </p:ext>
            </p:extLst>
          </p:nvPr>
        </p:nvGraphicFramePr>
        <p:xfrm>
          <a:off x="4013201" y="3551238"/>
          <a:ext cx="2836863" cy="1112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2836800" imgH="1112760" progId="Equation.3">
                  <p:embed/>
                </p:oleObj>
              </mc:Choice>
              <mc:Fallback>
                <p:oleObj name="Equation" r:id="rId5" imgW="2836800" imgH="1112760" progId="Equation.3">
                  <p:embed/>
                  <p:pic>
                    <p:nvPicPr>
                      <p:cNvPr id="7174" name="Object 4">
                        <a:extLst>
                          <a:ext uri="{FF2B5EF4-FFF2-40B4-BE49-F238E27FC236}">
                            <a16:creationId xmlns:a16="http://schemas.microsoft.com/office/drawing/2014/main" id="{CA26D90D-F54C-B578-7765-D9A465E81FF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13201" y="3551238"/>
                        <a:ext cx="2836863" cy="11128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>
            <a:extLst>
              <a:ext uri="{FF2B5EF4-FFF2-40B4-BE49-F238E27FC236}">
                <a16:creationId xmlns:a16="http://schemas.microsoft.com/office/drawing/2014/main" id="{42126147-8223-C496-5E36-3F1BB637A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8EA82D84-F311-45EF-B129-A42543E8E50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8195" name="Rectangle 2">
            <a:extLst>
              <a:ext uri="{FF2B5EF4-FFF2-40B4-BE49-F238E27FC236}">
                <a16:creationId xmlns:a16="http://schemas.microsoft.com/office/drawing/2014/main" id="{2ACBAA0E-0D8B-2E6A-197C-DC12F1803D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333" y="34151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dirty="0">
                <a:latin typeface="Invention Light" panose="020B0403020008020204" pitchFamily="34" charset="0"/>
              </a:rPr>
              <a:t>OLS / RE / FE Methods - Example</a:t>
            </a:r>
          </a:p>
        </p:txBody>
      </p:sp>
      <p:sp>
        <p:nvSpPr>
          <p:cNvPr id="8196" name="Rectangle 3">
            <a:extLst>
              <a:ext uri="{FF2B5EF4-FFF2-40B4-BE49-F238E27FC236}">
                <a16:creationId xmlns:a16="http://schemas.microsoft.com/office/drawing/2014/main" id="{019E1B15-F781-6E0F-5CDB-B3D09B5E496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868093" y="2229515"/>
            <a:ext cx="4019107" cy="2661462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Note changes in Lagged NRx and Details (while non significant samples)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Stability differences in GRPNAS and GRPOTC</a:t>
            </a:r>
          </a:p>
        </p:txBody>
      </p:sp>
      <p:pic>
        <p:nvPicPr>
          <p:cNvPr id="8197" name="Picture 5">
            <a:extLst>
              <a:ext uri="{FF2B5EF4-FFF2-40B4-BE49-F238E27FC236}">
                <a16:creationId xmlns:a16="http://schemas.microsoft.com/office/drawing/2014/main" id="{B70543D6-469B-F291-D122-38550D245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9" y="1032908"/>
            <a:ext cx="6441411" cy="52573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>
            <a:extLst>
              <a:ext uri="{FF2B5EF4-FFF2-40B4-BE49-F238E27FC236}">
                <a16:creationId xmlns:a16="http://schemas.microsoft.com/office/drawing/2014/main" id="{3612701C-9425-553D-BAC7-C2524E3123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145DF22-2BF6-4BDB-9C19-0A35D310BC6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7391C742-F103-197B-FD7A-05B383DA6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076450" y="2100264"/>
            <a:ext cx="8135938" cy="1292225"/>
          </a:xfrm>
        </p:spPr>
        <p:txBody>
          <a:bodyPr/>
          <a:lstStyle/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2400" dirty="0">
                <a:latin typeface="Invention" panose="020B0503020008020204" pitchFamily="34" charset="0"/>
              </a:rPr>
              <a:t>Details about Longitudinal Data Analysis</a:t>
            </a:r>
          </a:p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dirty="0">
                <a:latin typeface="Invention" panose="020B0503020008020204" pitchFamily="34" charset="0"/>
              </a:rPr>
              <a:t> Prof. Allison’s ideas on OLS, Random and Fixed Effects models</a:t>
            </a:r>
          </a:p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dirty="0">
                <a:latin typeface="Invention" panose="020B0503020008020204" pitchFamily="34" charset="0"/>
              </a:rPr>
              <a:t>Reference: </a:t>
            </a:r>
            <a:r>
              <a:rPr lang="en-US" altLang="en-US" i="1" dirty="0">
                <a:latin typeface="Invention" panose="020B0503020008020204" pitchFamily="34" charset="0"/>
              </a:rPr>
              <a:t>Fixed Effects Regression Methods for Longitudinal Data</a:t>
            </a:r>
            <a:r>
              <a:rPr lang="en-US" altLang="en-US" dirty="0">
                <a:latin typeface="Invention" panose="020B0503020008020204" pitchFamily="34" charset="0"/>
              </a:rPr>
              <a:t> by Paul D. Allison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2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4510</TotalTime>
  <Words>2339</Words>
  <Application>Microsoft Office PowerPoint</Application>
  <PresentationFormat>Widescreen</PresentationFormat>
  <Paragraphs>267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</vt:lpstr>
      <vt:lpstr>Arial Narrow</vt:lpstr>
      <vt:lpstr>Calibri</vt:lpstr>
      <vt:lpstr>Invention</vt:lpstr>
      <vt:lpstr>Invention Light</vt:lpstr>
      <vt:lpstr>Times New Roman</vt:lpstr>
      <vt:lpstr>Wingdings</vt:lpstr>
      <vt:lpstr>Merck 16:9 PPT Theme</vt:lpstr>
      <vt:lpstr>1_Default Design</vt:lpstr>
      <vt:lpstr>Microsoft Word Picture</vt:lpstr>
      <vt:lpstr>Microsoft Equation 3.0</vt:lpstr>
      <vt:lpstr>8. Model Part 3 </vt:lpstr>
      <vt:lpstr>PowerPoint Presentation</vt:lpstr>
      <vt:lpstr>PowerPoint Presentation</vt:lpstr>
      <vt:lpstr>Fixed Effects Model</vt:lpstr>
      <vt:lpstr>Fixed Effects Model</vt:lpstr>
      <vt:lpstr>Fixed Effects Model – Estimation with two time periods</vt:lpstr>
      <vt:lpstr>Fixed Effects Model – Estimation with more than two time periods</vt:lpstr>
      <vt:lpstr>OLS / RE / FE Methods - Example</vt:lpstr>
      <vt:lpstr>PowerPoint Presentation</vt:lpstr>
      <vt:lpstr>Concepts – Randomized Experiments vs. nonexperimental studies.</vt:lpstr>
      <vt:lpstr>Concepts – Randomized Experiments vs. nonexperimental studies.</vt:lpstr>
      <vt:lpstr>Concepts – Fixed Effects Methods</vt:lpstr>
      <vt:lpstr>Concepts – Fixed Effects Methods</vt:lpstr>
      <vt:lpstr>Concepts – Fixed Effects Methods (cont’d)</vt:lpstr>
      <vt:lpstr>Concepts – Fixed Effects Methods (cont’d)</vt:lpstr>
      <vt:lpstr>OLS / RE / FE Methods Exploration - 1</vt:lpstr>
      <vt:lpstr>OLS / RE / FE Methods Exploration - 1</vt:lpstr>
      <vt:lpstr>OLS / RE / FE Methods Exploration - 2</vt:lpstr>
      <vt:lpstr>OLS / RE / FE Methods Exploration - 3</vt:lpstr>
      <vt:lpstr>OLS / RE / FE Methods Exploration - 3</vt:lpstr>
      <vt:lpstr>OLS / RE / FE Methods Exploration - 4</vt:lpstr>
      <vt:lpstr>OLS / RE / FE Methods Exploration - 4</vt:lpstr>
      <vt:lpstr>OLS / RE / FE Methods Exploration - 5</vt:lpstr>
      <vt:lpstr>OLS / RE / FE Methods Exploration - 5</vt:lpstr>
      <vt:lpstr>OLS / RE / FE Methods - Exampl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urugan, Senthil</cp:lastModifiedBy>
  <cp:revision>249</cp:revision>
  <dcterms:created xsi:type="dcterms:W3CDTF">2022-11-08T10:28:18Z</dcterms:created>
  <dcterms:modified xsi:type="dcterms:W3CDTF">2023-09-21T01:29:3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